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1"/>
  </p:notesMasterIdLst>
  <p:sldIdLst>
    <p:sldId id="2147470553" r:id="rId5"/>
    <p:sldId id="2147470557" r:id="rId6"/>
    <p:sldId id="2147470558" r:id="rId7"/>
    <p:sldId id="2147470571" r:id="rId8"/>
    <p:sldId id="2147470559" r:id="rId9"/>
    <p:sldId id="2147470625" r:id="rId10"/>
    <p:sldId id="2147470572" r:id="rId11"/>
    <p:sldId id="2147470607" r:id="rId12"/>
    <p:sldId id="2147470608" r:id="rId13"/>
    <p:sldId id="2147470609" r:id="rId14"/>
    <p:sldId id="2147470613" r:id="rId15"/>
    <p:sldId id="2147470583" r:id="rId16"/>
    <p:sldId id="2147470611" r:id="rId17"/>
    <p:sldId id="2147470618" r:id="rId18"/>
    <p:sldId id="2147470612" r:id="rId19"/>
    <p:sldId id="2147470623" r:id="rId20"/>
    <p:sldId id="2147470626" r:id="rId21"/>
    <p:sldId id="2147470624" r:id="rId22"/>
    <p:sldId id="2147470615" r:id="rId23"/>
    <p:sldId id="2147470619" r:id="rId24"/>
    <p:sldId id="2147470614" r:id="rId25"/>
    <p:sldId id="2147470610" r:id="rId26"/>
    <p:sldId id="2147470620" r:id="rId27"/>
    <p:sldId id="2147470621" r:id="rId28"/>
    <p:sldId id="2147470622" r:id="rId29"/>
    <p:sldId id="214747056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5F42E3-C4F3-474F-B9C2-A0BA12FFF20C}" v="109" dt="2023-11-14T16:13:45.8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5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E91C9C7B-BB2D-4AFD-B454-4D10D65794B7}"/>
    <pc:docChg chg="addSld delSld modSld sldOrd">
      <pc:chgData name="Dwayne Natwick" userId="d11f0013982d5c78" providerId="Windows Live" clId="Web-{E91C9C7B-BB2D-4AFD-B454-4D10D65794B7}" dt="2023-09-14T19:08:05.804" v="1664"/>
      <pc:docMkLst>
        <pc:docMk/>
      </pc:docMkLst>
      <pc:sldChg chg="del">
        <pc:chgData name="Dwayne Natwick" userId="d11f0013982d5c78" providerId="Windows Live" clId="Web-{E91C9C7B-BB2D-4AFD-B454-4D10D65794B7}" dt="2023-09-14T17:31:17.464" v="0"/>
        <pc:sldMkLst>
          <pc:docMk/>
          <pc:sldMk cId="3164376787" sldId="2076137029"/>
        </pc:sldMkLst>
      </pc:sldChg>
      <pc:sldChg chg="del">
        <pc:chgData name="Dwayne Natwick" userId="d11f0013982d5c78" providerId="Windows Live" clId="Web-{E91C9C7B-BB2D-4AFD-B454-4D10D65794B7}" dt="2023-09-14T17:31:17.464" v="2"/>
        <pc:sldMkLst>
          <pc:docMk/>
          <pc:sldMk cId="2024722602" sldId="2145705724"/>
        </pc:sldMkLst>
      </pc:sldChg>
      <pc:sldChg chg="del">
        <pc:chgData name="Dwayne Natwick" userId="d11f0013982d5c78" providerId="Windows Live" clId="Web-{E91C9C7B-BB2D-4AFD-B454-4D10D65794B7}" dt="2023-09-14T17:31:17.464" v="1"/>
        <pc:sldMkLst>
          <pc:docMk/>
          <pc:sldMk cId="682611613" sldId="2147470555"/>
        </pc:sldMkLst>
      </pc:sldChg>
      <pc:sldChg chg="ord">
        <pc:chgData name="Dwayne Natwick" userId="d11f0013982d5c78" providerId="Windows Live" clId="Web-{E91C9C7B-BB2D-4AFD-B454-4D10D65794B7}" dt="2023-09-14T17:51:26.121" v="590"/>
        <pc:sldMkLst>
          <pc:docMk/>
          <pc:sldMk cId="3682517411" sldId="2147470559"/>
        </pc:sldMkLst>
      </pc:sldChg>
      <pc:sldChg chg="modSp modNotes">
        <pc:chgData name="Dwayne Natwick" userId="d11f0013982d5c78" providerId="Windows Live" clId="Web-{E91C9C7B-BB2D-4AFD-B454-4D10D65794B7}" dt="2023-09-14T17:42:38.560" v="492"/>
        <pc:sldMkLst>
          <pc:docMk/>
          <pc:sldMk cId="3861986293" sldId="2147470583"/>
        </pc:sldMkLst>
        <pc:spChg chg="mod">
          <ac:chgData name="Dwayne Natwick" userId="d11f0013982d5c78" providerId="Windows Live" clId="Web-{E91C9C7B-BB2D-4AFD-B454-4D10D65794B7}" dt="2023-09-14T17:42:38.560" v="492"/>
          <ac:spMkLst>
            <pc:docMk/>
            <pc:sldMk cId="3861986293" sldId="2147470583"/>
            <ac:spMk id="4" creationId="{B269E640-ABA6-E084-C63A-7A1C976F25BF}"/>
          </ac:spMkLst>
        </pc:spChg>
      </pc:sldChg>
      <pc:sldChg chg="delSp modSp new mod ord modClrScheme chgLayout">
        <pc:chgData name="Dwayne Natwick" userId="d11f0013982d5c78" providerId="Windows Live" clId="Web-{E91C9C7B-BB2D-4AFD-B454-4D10D65794B7}" dt="2023-09-14T17:33:46.078" v="165" actId="20577"/>
        <pc:sldMkLst>
          <pc:docMk/>
          <pc:sldMk cId="2839524364" sldId="2147470607"/>
        </pc:sldMkLst>
        <pc:spChg chg="mod ord">
          <ac:chgData name="Dwayne Natwick" userId="d11f0013982d5c78" providerId="Windows Live" clId="Web-{E91C9C7B-BB2D-4AFD-B454-4D10D65794B7}" dt="2023-09-14T17:31:51.387" v="29" actId="20577"/>
          <ac:spMkLst>
            <pc:docMk/>
            <pc:sldMk cId="2839524364" sldId="2147470607"/>
            <ac:spMk id="2" creationId="{09C07B8E-14FF-3C2D-BE0E-F25E0D4B4DB3}"/>
          </ac:spMkLst>
        </pc:spChg>
        <pc:spChg chg="mod ord">
          <ac:chgData name="Dwayne Natwick" userId="d11f0013982d5c78" providerId="Windows Live" clId="Web-{E91C9C7B-BB2D-4AFD-B454-4D10D65794B7}" dt="2023-09-14T17:33:46.078" v="165" actId="20577"/>
          <ac:spMkLst>
            <pc:docMk/>
            <pc:sldMk cId="2839524364" sldId="2147470607"/>
            <ac:spMk id="3" creationId="{C9D88242-39E7-FD9D-8E94-B07DD53805B5}"/>
          </ac:spMkLst>
        </pc:spChg>
        <pc:spChg chg="del">
          <ac:chgData name="Dwayne Natwick" userId="d11f0013982d5c78" providerId="Windows Live" clId="Web-{E91C9C7B-BB2D-4AFD-B454-4D10D65794B7}" dt="2023-09-14T17:31:33.340" v="4"/>
          <ac:spMkLst>
            <pc:docMk/>
            <pc:sldMk cId="2839524364" sldId="2147470607"/>
            <ac:spMk id="4" creationId="{5042A307-8831-D2F5-44AC-94A741452604}"/>
          </ac:spMkLst>
        </pc:spChg>
      </pc:sldChg>
      <pc:sldChg chg="modSp new">
        <pc:chgData name="Dwayne Natwick" userId="d11f0013982d5c78" providerId="Windows Live" clId="Web-{E91C9C7B-BB2D-4AFD-B454-4D10D65794B7}" dt="2023-09-14T17:37:51.240" v="443" actId="20577"/>
        <pc:sldMkLst>
          <pc:docMk/>
          <pc:sldMk cId="4086260143" sldId="2147470608"/>
        </pc:sldMkLst>
        <pc:spChg chg="mod">
          <ac:chgData name="Dwayne Natwick" userId="d11f0013982d5c78" providerId="Windows Live" clId="Web-{E91C9C7B-BB2D-4AFD-B454-4D10D65794B7}" dt="2023-09-14T17:34:02.313" v="184" actId="20577"/>
          <ac:spMkLst>
            <pc:docMk/>
            <pc:sldMk cId="4086260143" sldId="2147470608"/>
            <ac:spMk id="2" creationId="{BA3D571B-B150-1C46-5F05-A09D93B7AE7A}"/>
          </ac:spMkLst>
        </pc:spChg>
        <pc:spChg chg="mod">
          <ac:chgData name="Dwayne Natwick" userId="d11f0013982d5c78" providerId="Windows Live" clId="Web-{E91C9C7B-BB2D-4AFD-B454-4D10D65794B7}" dt="2023-09-14T17:37:51.240" v="443" actId="20577"/>
          <ac:spMkLst>
            <pc:docMk/>
            <pc:sldMk cId="4086260143" sldId="2147470608"/>
            <ac:spMk id="3" creationId="{EEA0802F-FB95-E549-566C-5C162DF6AE92}"/>
          </ac:spMkLst>
        </pc:spChg>
      </pc:sldChg>
      <pc:sldChg chg="addSp delSp modSp new modNotes">
        <pc:chgData name="Dwayne Natwick" userId="d11f0013982d5c78" providerId="Windows Live" clId="Web-{E91C9C7B-BB2D-4AFD-B454-4D10D65794B7}" dt="2023-09-14T17:40:31.854" v="487" actId="20577"/>
        <pc:sldMkLst>
          <pc:docMk/>
          <pc:sldMk cId="379969417" sldId="2147470609"/>
        </pc:sldMkLst>
        <pc:spChg chg="mod">
          <ac:chgData name="Dwayne Natwick" userId="d11f0013982d5c78" providerId="Windows Live" clId="Web-{E91C9C7B-BB2D-4AFD-B454-4D10D65794B7}" dt="2023-09-14T17:38:02.037" v="449" actId="20577"/>
          <ac:spMkLst>
            <pc:docMk/>
            <pc:sldMk cId="379969417" sldId="2147470609"/>
            <ac:spMk id="2" creationId="{C144469C-FA2E-89F4-8275-78C7809263F1}"/>
          </ac:spMkLst>
        </pc:spChg>
        <pc:spChg chg="mod">
          <ac:chgData name="Dwayne Natwick" userId="d11f0013982d5c78" providerId="Windows Live" clId="Web-{E91C9C7B-BB2D-4AFD-B454-4D10D65794B7}" dt="2023-09-14T17:40:31.854" v="487" actId="20577"/>
          <ac:spMkLst>
            <pc:docMk/>
            <pc:sldMk cId="379969417" sldId="2147470609"/>
            <ac:spMk id="3" creationId="{F3C47606-EBF4-2063-DFC2-36C74BD4FA71}"/>
          </ac:spMkLst>
        </pc:spChg>
        <pc:spChg chg="add del mod">
          <ac:chgData name="Dwayne Natwick" userId="d11f0013982d5c78" providerId="Windows Live" clId="Web-{E91C9C7B-BB2D-4AFD-B454-4D10D65794B7}" dt="2023-09-14T17:39:56.619" v="477"/>
          <ac:spMkLst>
            <pc:docMk/>
            <pc:sldMk cId="379969417" sldId="2147470609"/>
            <ac:spMk id="4" creationId="{90CC4371-D359-AE00-7C53-DC23F88881E8}"/>
          </ac:spMkLst>
        </pc:spChg>
        <pc:spChg chg="add del mod">
          <ac:chgData name="Dwayne Natwick" userId="d11f0013982d5c78" providerId="Windows Live" clId="Web-{E91C9C7B-BB2D-4AFD-B454-4D10D65794B7}" dt="2023-09-14T17:40:24.385" v="483"/>
          <ac:spMkLst>
            <pc:docMk/>
            <pc:sldMk cId="379969417" sldId="2147470609"/>
            <ac:spMk id="5" creationId="{4209EB24-B1ED-706B-D799-95AD17C92A69}"/>
          </ac:spMkLst>
        </pc:spChg>
      </pc:sldChg>
      <pc:sldChg chg="modSp new ord">
        <pc:chgData name="Dwayne Natwick" userId="d11f0013982d5c78" providerId="Windows Live" clId="Web-{E91C9C7B-BB2D-4AFD-B454-4D10D65794B7}" dt="2023-09-14T18:55:40.078" v="1008" actId="20577"/>
        <pc:sldMkLst>
          <pc:docMk/>
          <pc:sldMk cId="1929971971" sldId="2147470610"/>
        </pc:sldMkLst>
        <pc:spChg chg="mod">
          <ac:chgData name="Dwayne Natwick" userId="d11f0013982d5c78" providerId="Windows Live" clId="Web-{E91C9C7B-BB2D-4AFD-B454-4D10D65794B7}" dt="2023-09-14T17:43:54.203" v="519" actId="20577"/>
          <ac:spMkLst>
            <pc:docMk/>
            <pc:sldMk cId="1929971971" sldId="2147470610"/>
            <ac:spMk id="2" creationId="{105B6354-2028-24B8-66E1-0D45962243CA}"/>
          </ac:spMkLst>
        </pc:spChg>
        <pc:spChg chg="mod">
          <ac:chgData name="Dwayne Natwick" userId="d11f0013982d5c78" providerId="Windows Live" clId="Web-{E91C9C7B-BB2D-4AFD-B454-4D10D65794B7}" dt="2023-09-14T18:55:40.078" v="1008" actId="20577"/>
          <ac:spMkLst>
            <pc:docMk/>
            <pc:sldMk cId="1929971971" sldId="2147470610"/>
            <ac:spMk id="3" creationId="{7407A4C3-86E5-EFE8-1E18-DC50FF22703B}"/>
          </ac:spMkLst>
        </pc:spChg>
      </pc:sldChg>
      <pc:sldChg chg="delSp modSp new mod modClrScheme chgLayout">
        <pc:chgData name="Dwayne Natwick" userId="d11f0013982d5c78" providerId="Windows Live" clId="Web-{E91C9C7B-BB2D-4AFD-B454-4D10D65794B7}" dt="2023-09-14T17:56:40.582" v="716" actId="20577"/>
        <pc:sldMkLst>
          <pc:docMk/>
          <pc:sldMk cId="2421521076" sldId="2147470611"/>
        </pc:sldMkLst>
        <pc:spChg chg="mod ord">
          <ac:chgData name="Dwayne Natwick" userId="d11f0013982d5c78" providerId="Windows Live" clId="Web-{E91C9C7B-BB2D-4AFD-B454-4D10D65794B7}" dt="2023-09-14T17:46:12.159" v="549" actId="20577"/>
          <ac:spMkLst>
            <pc:docMk/>
            <pc:sldMk cId="2421521076" sldId="2147470611"/>
            <ac:spMk id="2" creationId="{0F4D640B-8499-E0C5-C508-35266E13B6E6}"/>
          </ac:spMkLst>
        </pc:spChg>
        <pc:spChg chg="mod ord">
          <ac:chgData name="Dwayne Natwick" userId="d11f0013982d5c78" providerId="Windows Live" clId="Web-{E91C9C7B-BB2D-4AFD-B454-4D10D65794B7}" dt="2023-09-14T17:56:40.582" v="716" actId="20577"/>
          <ac:spMkLst>
            <pc:docMk/>
            <pc:sldMk cId="2421521076" sldId="2147470611"/>
            <ac:spMk id="3" creationId="{358EA097-101A-43CC-781A-E0E92A4D22E7}"/>
          </ac:spMkLst>
        </pc:spChg>
        <pc:spChg chg="del">
          <ac:chgData name="Dwayne Natwick" userId="d11f0013982d5c78" providerId="Windows Live" clId="Web-{E91C9C7B-BB2D-4AFD-B454-4D10D65794B7}" dt="2023-09-14T17:45:27.769" v="522"/>
          <ac:spMkLst>
            <pc:docMk/>
            <pc:sldMk cId="2421521076" sldId="2147470611"/>
            <ac:spMk id="4" creationId="{9F2C3E0F-6202-6F36-75C7-7F943D05D8A4}"/>
          </ac:spMkLst>
        </pc:spChg>
      </pc:sldChg>
      <pc:sldChg chg="addSp modSp new">
        <pc:chgData name="Dwayne Natwick" userId="d11f0013982d5c78" providerId="Windows Live" clId="Web-{E91C9C7B-BB2D-4AFD-B454-4D10D65794B7}" dt="2023-09-14T18:53:57.232" v="890" actId="20577"/>
        <pc:sldMkLst>
          <pc:docMk/>
          <pc:sldMk cId="2524577050" sldId="2147470612"/>
        </pc:sldMkLst>
        <pc:spChg chg="mod">
          <ac:chgData name="Dwayne Natwick" userId="d11f0013982d5c78" providerId="Windows Live" clId="Web-{E91C9C7B-BB2D-4AFD-B454-4D10D65794B7}" dt="2023-09-14T18:53:57.232" v="890" actId="20577"/>
          <ac:spMkLst>
            <pc:docMk/>
            <pc:sldMk cId="2524577050" sldId="2147470612"/>
            <ac:spMk id="2" creationId="{CDF7A4E4-C3FF-9DA3-1E01-6E7681781D01}"/>
          </ac:spMkLst>
        </pc:spChg>
        <pc:spChg chg="mod">
          <ac:chgData name="Dwayne Natwick" userId="d11f0013982d5c78" providerId="Windows Live" clId="Web-{E91C9C7B-BB2D-4AFD-B454-4D10D65794B7}" dt="2023-09-14T17:52:29.669" v="601" actId="20577"/>
          <ac:spMkLst>
            <pc:docMk/>
            <pc:sldMk cId="2524577050" sldId="2147470612"/>
            <ac:spMk id="3" creationId="{675F152E-D720-B366-A514-0FB945F73594}"/>
          </ac:spMkLst>
        </pc:spChg>
        <pc:spChg chg="add mod">
          <ac:chgData name="Dwayne Natwick" userId="d11f0013982d5c78" providerId="Windows Live" clId="Web-{E91C9C7B-BB2D-4AFD-B454-4D10D65794B7}" dt="2023-09-14T17:52:43.216" v="605" actId="1076"/>
          <ac:spMkLst>
            <pc:docMk/>
            <pc:sldMk cId="2524577050" sldId="2147470612"/>
            <ac:spMk id="4" creationId="{57240181-C93A-F4E8-472C-1AF0F2C2A855}"/>
          </ac:spMkLst>
        </pc:spChg>
        <pc:spChg chg="add mod">
          <ac:chgData name="Dwayne Natwick" userId="d11f0013982d5c78" providerId="Windows Live" clId="Web-{E91C9C7B-BB2D-4AFD-B454-4D10D65794B7}" dt="2023-09-14T17:54:08.515" v="611" actId="1076"/>
          <ac:spMkLst>
            <pc:docMk/>
            <pc:sldMk cId="2524577050" sldId="2147470612"/>
            <ac:spMk id="5" creationId="{D3A447DE-6903-1590-61FB-AB160302D80B}"/>
          </ac:spMkLst>
        </pc:spChg>
        <pc:spChg chg="add mod">
          <ac:chgData name="Dwayne Natwick" userId="d11f0013982d5c78" providerId="Windows Live" clId="Web-{E91C9C7B-BB2D-4AFD-B454-4D10D65794B7}" dt="2023-09-14T17:54:29.157" v="615" actId="1076"/>
          <ac:spMkLst>
            <pc:docMk/>
            <pc:sldMk cId="2524577050" sldId="2147470612"/>
            <ac:spMk id="6" creationId="{520C77B9-C55A-8B6C-DC16-CEE27B62CD45}"/>
          </ac:spMkLst>
        </pc:spChg>
        <pc:spChg chg="add mod">
          <ac:chgData name="Dwayne Natwick" userId="d11f0013982d5c78" providerId="Windows Live" clId="Web-{E91C9C7B-BB2D-4AFD-B454-4D10D65794B7}" dt="2023-09-14T17:54:58.704" v="620" actId="14100"/>
          <ac:spMkLst>
            <pc:docMk/>
            <pc:sldMk cId="2524577050" sldId="2147470612"/>
            <ac:spMk id="7" creationId="{C25B8EDA-4C77-A71B-612F-D5F8559DF688}"/>
          </ac:spMkLst>
        </pc:spChg>
      </pc:sldChg>
      <pc:sldChg chg="addSp delSp modSp new mod modClrScheme chgLayout modNotes">
        <pc:chgData name="Dwayne Natwick" userId="d11f0013982d5c78" providerId="Windows Live" clId="Web-{E91C9C7B-BB2D-4AFD-B454-4D10D65794B7}" dt="2023-09-14T18:49:56.021" v="875"/>
        <pc:sldMkLst>
          <pc:docMk/>
          <pc:sldMk cId="848203549" sldId="2147470613"/>
        </pc:sldMkLst>
        <pc:spChg chg="mod">
          <ac:chgData name="Dwayne Natwick" userId="d11f0013982d5c78" providerId="Windows Live" clId="Web-{E91C9C7B-BB2D-4AFD-B454-4D10D65794B7}" dt="2023-09-14T18:49:22.770" v="864"/>
          <ac:spMkLst>
            <pc:docMk/>
            <pc:sldMk cId="848203549" sldId="2147470613"/>
            <ac:spMk id="2" creationId="{63644AF7-A23F-1DD9-6E3C-EE7368917D77}"/>
          </ac:spMkLst>
        </pc:spChg>
        <pc:spChg chg="mod">
          <ac:chgData name="Dwayne Natwick" userId="d11f0013982d5c78" providerId="Windows Live" clId="Web-{E91C9C7B-BB2D-4AFD-B454-4D10D65794B7}" dt="2023-09-14T18:49:35.833" v="868" actId="14100"/>
          <ac:spMkLst>
            <pc:docMk/>
            <pc:sldMk cId="848203549" sldId="2147470613"/>
            <ac:spMk id="3" creationId="{2E50BA7C-3255-BC69-812B-892217F5D36D}"/>
          </ac:spMkLst>
        </pc:spChg>
        <pc:spChg chg="add del mod">
          <ac:chgData name="Dwayne Natwick" userId="d11f0013982d5c78" providerId="Windows Live" clId="Web-{E91C9C7B-BB2D-4AFD-B454-4D10D65794B7}" dt="2023-09-14T18:49:56.021" v="875"/>
          <ac:spMkLst>
            <pc:docMk/>
            <pc:sldMk cId="848203549" sldId="2147470613"/>
            <ac:spMk id="5" creationId="{922D9E5B-053B-2662-2AD3-E7F26E827B71}"/>
          </ac:spMkLst>
        </pc:spChg>
        <pc:picChg chg="add mod">
          <ac:chgData name="Dwayne Natwick" userId="d11f0013982d5c78" providerId="Windows Live" clId="Web-{E91C9C7B-BB2D-4AFD-B454-4D10D65794B7}" dt="2023-09-14T18:49:22.770" v="864"/>
          <ac:picMkLst>
            <pc:docMk/>
            <pc:sldMk cId="848203549" sldId="2147470613"/>
            <ac:picMk id="4" creationId="{D26C38C8-22B0-0868-2D0E-669BDC2059B1}"/>
          </ac:picMkLst>
        </pc:picChg>
      </pc:sldChg>
      <pc:sldChg chg="addSp delSp modSp new modNotes">
        <pc:chgData name="Dwayne Natwick" userId="d11f0013982d5c78" providerId="Windows Live" clId="Web-{E91C9C7B-BB2D-4AFD-B454-4D10D65794B7}" dt="2023-09-14T18:57:11.581" v="1105"/>
        <pc:sldMkLst>
          <pc:docMk/>
          <pc:sldMk cId="3770102974" sldId="2147470614"/>
        </pc:sldMkLst>
        <pc:spChg chg="mod">
          <ac:chgData name="Dwayne Natwick" userId="d11f0013982d5c78" providerId="Windows Live" clId="Web-{E91C9C7B-BB2D-4AFD-B454-4D10D65794B7}" dt="2023-09-14T18:54:08.513" v="904" actId="20577"/>
          <ac:spMkLst>
            <pc:docMk/>
            <pc:sldMk cId="3770102974" sldId="2147470614"/>
            <ac:spMk id="2" creationId="{CFCF5E71-8482-5C4A-1937-62180CED69B1}"/>
          </ac:spMkLst>
        </pc:spChg>
        <pc:spChg chg="mod">
          <ac:chgData name="Dwayne Natwick" userId="d11f0013982d5c78" providerId="Windows Live" clId="Web-{E91C9C7B-BB2D-4AFD-B454-4D10D65794B7}" dt="2023-09-14T18:56:47.659" v="1101" actId="20577"/>
          <ac:spMkLst>
            <pc:docMk/>
            <pc:sldMk cId="3770102974" sldId="2147470614"/>
            <ac:spMk id="3" creationId="{2E8F6CC6-DEE5-E7CD-0610-AF173BD7F8EC}"/>
          </ac:spMkLst>
        </pc:spChg>
        <pc:spChg chg="add del mod">
          <ac:chgData name="Dwayne Natwick" userId="d11f0013982d5c78" providerId="Windows Live" clId="Web-{E91C9C7B-BB2D-4AFD-B454-4D10D65794B7}" dt="2023-09-14T18:57:11.581" v="1105"/>
          <ac:spMkLst>
            <pc:docMk/>
            <pc:sldMk cId="3770102974" sldId="2147470614"/>
            <ac:spMk id="4" creationId="{F59A0AD9-2731-F101-8A88-A97CEEED7C5D}"/>
          </ac:spMkLst>
        </pc:spChg>
      </pc:sldChg>
      <pc:sldChg chg="addSp delSp modSp new mod chgLayout">
        <pc:chgData name="Dwayne Natwick" userId="d11f0013982d5c78" providerId="Windows Live" clId="Web-{E91C9C7B-BB2D-4AFD-B454-4D10D65794B7}" dt="2023-09-14T18:57:20.347" v="1109"/>
        <pc:sldMkLst>
          <pc:docMk/>
          <pc:sldMk cId="3933044535" sldId="2147470615"/>
        </pc:sldMkLst>
        <pc:spChg chg="mod ord">
          <ac:chgData name="Dwayne Natwick" userId="d11f0013982d5c78" providerId="Windows Live" clId="Web-{E91C9C7B-BB2D-4AFD-B454-4D10D65794B7}" dt="2023-09-14T18:50:45.163" v="882" actId="20577"/>
          <ac:spMkLst>
            <pc:docMk/>
            <pc:sldMk cId="3933044535" sldId="2147470615"/>
            <ac:spMk id="2" creationId="{EDF87A23-46AF-F5CE-1408-BC8C91B71A9B}"/>
          </ac:spMkLst>
        </pc:spChg>
        <pc:spChg chg="del">
          <ac:chgData name="Dwayne Natwick" userId="d11f0013982d5c78" providerId="Windows Live" clId="Web-{E91C9C7B-BB2D-4AFD-B454-4D10D65794B7}" dt="2023-09-14T18:50:39.101" v="878"/>
          <ac:spMkLst>
            <pc:docMk/>
            <pc:sldMk cId="3933044535" sldId="2147470615"/>
            <ac:spMk id="3" creationId="{884F335E-7FF2-0DF4-80B1-93DACA319859}"/>
          </ac:spMkLst>
        </pc:spChg>
        <pc:spChg chg="add del mod">
          <ac:chgData name="Dwayne Natwick" userId="d11f0013982d5c78" providerId="Windows Live" clId="Web-{E91C9C7B-BB2D-4AFD-B454-4D10D65794B7}" dt="2023-09-14T18:57:20.347" v="1109"/>
          <ac:spMkLst>
            <pc:docMk/>
            <pc:sldMk cId="3933044535" sldId="2147470615"/>
            <ac:spMk id="4" creationId="{86024C3E-11CA-B130-F720-2EDCEA10853F}"/>
          </ac:spMkLst>
        </pc:spChg>
      </pc:sldChg>
      <pc:sldChg chg="add replId">
        <pc:chgData name="Dwayne Natwick" userId="d11f0013982d5c78" providerId="Windows Live" clId="Web-{E91C9C7B-BB2D-4AFD-B454-4D10D65794B7}" dt="2023-09-14T18:51:18.305" v="883"/>
        <pc:sldMkLst>
          <pc:docMk/>
          <pc:sldMk cId="3921617707" sldId="2147470616"/>
        </pc:sldMkLst>
      </pc:sldChg>
      <pc:sldChg chg="modSp add replId">
        <pc:chgData name="Dwayne Natwick" userId="d11f0013982d5c78" providerId="Windows Live" clId="Web-{E91C9C7B-BB2D-4AFD-B454-4D10D65794B7}" dt="2023-09-14T18:51:54.634" v="887" actId="20577"/>
        <pc:sldMkLst>
          <pc:docMk/>
          <pc:sldMk cId="1753990868" sldId="2147470617"/>
        </pc:sldMkLst>
        <pc:spChg chg="mod">
          <ac:chgData name="Dwayne Natwick" userId="d11f0013982d5c78" providerId="Windows Live" clId="Web-{E91C9C7B-BB2D-4AFD-B454-4D10D65794B7}" dt="2023-09-14T18:51:54.634" v="887" actId="20577"/>
          <ac:spMkLst>
            <pc:docMk/>
            <pc:sldMk cId="1753990868" sldId="2147470617"/>
            <ac:spMk id="2" creationId="{EDF87A23-46AF-F5CE-1408-BC8C91B71A9B}"/>
          </ac:spMkLst>
        </pc:spChg>
      </pc:sldChg>
      <pc:sldChg chg="add replId">
        <pc:chgData name="Dwayne Natwick" userId="d11f0013982d5c78" providerId="Windows Live" clId="Web-{E91C9C7B-BB2D-4AFD-B454-4D10D65794B7}" dt="2023-09-14T18:52:16.213" v="888"/>
        <pc:sldMkLst>
          <pc:docMk/>
          <pc:sldMk cId="3572404749" sldId="2147470618"/>
        </pc:sldMkLst>
      </pc:sldChg>
      <pc:sldChg chg="modSp new mod chgLayout">
        <pc:chgData name="Dwayne Natwick" userId="d11f0013982d5c78" providerId="Windows Live" clId="Web-{E91C9C7B-BB2D-4AFD-B454-4D10D65794B7}" dt="2023-09-14T18:57:44.895" v="1139" actId="20577"/>
        <pc:sldMkLst>
          <pc:docMk/>
          <pc:sldMk cId="2409884957" sldId="2147470619"/>
        </pc:sldMkLst>
        <pc:spChg chg="mod ord">
          <ac:chgData name="Dwayne Natwick" userId="d11f0013982d5c78" providerId="Windows Live" clId="Web-{E91C9C7B-BB2D-4AFD-B454-4D10D65794B7}" dt="2023-09-14T18:57:44.895" v="1139" actId="20577"/>
          <ac:spMkLst>
            <pc:docMk/>
            <pc:sldMk cId="2409884957" sldId="2147470619"/>
            <ac:spMk id="2" creationId="{DD98F413-FA4A-5DAC-66E1-E02E10AE53D2}"/>
          </ac:spMkLst>
        </pc:spChg>
      </pc:sldChg>
      <pc:sldChg chg="modSp new">
        <pc:chgData name="Dwayne Natwick" userId="d11f0013982d5c78" providerId="Windows Live" clId="Web-{E91C9C7B-BB2D-4AFD-B454-4D10D65794B7}" dt="2023-09-14T19:03:13.373" v="1632" actId="20577"/>
        <pc:sldMkLst>
          <pc:docMk/>
          <pc:sldMk cId="3776730813" sldId="2147470620"/>
        </pc:sldMkLst>
        <pc:spChg chg="mod">
          <ac:chgData name="Dwayne Natwick" userId="d11f0013982d5c78" providerId="Windows Live" clId="Web-{E91C9C7B-BB2D-4AFD-B454-4D10D65794B7}" dt="2023-09-14T18:57:56.348" v="1142" actId="20577"/>
          <ac:spMkLst>
            <pc:docMk/>
            <pc:sldMk cId="3776730813" sldId="2147470620"/>
            <ac:spMk id="2" creationId="{B98733DD-1422-5649-B7EC-6C22F68294E7}"/>
          </ac:spMkLst>
        </pc:spChg>
        <pc:spChg chg="mod">
          <ac:chgData name="Dwayne Natwick" userId="d11f0013982d5c78" providerId="Windows Live" clId="Web-{E91C9C7B-BB2D-4AFD-B454-4D10D65794B7}" dt="2023-09-14T19:03:13.373" v="1632" actId="20577"/>
          <ac:spMkLst>
            <pc:docMk/>
            <pc:sldMk cId="3776730813" sldId="2147470620"/>
            <ac:spMk id="3" creationId="{6877C1DD-3080-4AEC-3E55-CF8ED035D114}"/>
          </ac:spMkLst>
        </pc:spChg>
      </pc:sldChg>
      <pc:sldChg chg="addSp delSp modSp new modNotes">
        <pc:chgData name="Dwayne Natwick" userId="d11f0013982d5c78" providerId="Windows Live" clId="Web-{E91C9C7B-BB2D-4AFD-B454-4D10D65794B7}" dt="2023-09-14T19:08:05.804" v="1664"/>
        <pc:sldMkLst>
          <pc:docMk/>
          <pc:sldMk cId="1675599562" sldId="2147470621"/>
        </pc:sldMkLst>
        <pc:spChg chg="mod">
          <ac:chgData name="Dwayne Natwick" userId="d11f0013982d5c78" providerId="Windows Live" clId="Web-{E91C9C7B-BB2D-4AFD-B454-4D10D65794B7}" dt="2023-09-14T19:03:28.920" v="1644" actId="20577"/>
          <ac:spMkLst>
            <pc:docMk/>
            <pc:sldMk cId="1675599562" sldId="2147470621"/>
            <ac:spMk id="2" creationId="{4F2E3601-0348-0AC8-926D-2963A6EBDE54}"/>
          </ac:spMkLst>
        </pc:spChg>
        <pc:spChg chg="mod">
          <ac:chgData name="Dwayne Natwick" userId="d11f0013982d5c78" providerId="Windows Live" clId="Web-{E91C9C7B-BB2D-4AFD-B454-4D10D65794B7}" dt="2023-09-14T19:03:35.499" v="1647" actId="20577"/>
          <ac:spMkLst>
            <pc:docMk/>
            <pc:sldMk cId="1675599562" sldId="2147470621"/>
            <ac:spMk id="3" creationId="{226A9B3B-731B-E601-049B-025098728B19}"/>
          </ac:spMkLst>
        </pc:spChg>
        <pc:spChg chg="add del mod">
          <ac:chgData name="Dwayne Natwick" userId="d11f0013982d5c78" providerId="Windows Live" clId="Web-{E91C9C7B-BB2D-4AFD-B454-4D10D65794B7}" dt="2023-09-14T19:08:05.804" v="1664"/>
          <ac:spMkLst>
            <pc:docMk/>
            <pc:sldMk cId="1675599562" sldId="2147470621"/>
            <ac:spMk id="4" creationId="{475DAF6E-27CB-D2FC-04C5-770BF18601CB}"/>
          </ac:spMkLst>
        </pc:spChg>
      </pc:sldChg>
      <pc:sldChg chg="addSp modSp new modNotes">
        <pc:chgData name="Dwayne Natwick" userId="d11f0013982d5c78" providerId="Windows Live" clId="Web-{E91C9C7B-BB2D-4AFD-B454-4D10D65794B7}" dt="2023-09-14T19:04:44.751" v="1660" actId="1076"/>
        <pc:sldMkLst>
          <pc:docMk/>
          <pc:sldMk cId="4211696148" sldId="2147470622"/>
        </pc:sldMkLst>
        <pc:spChg chg="mod">
          <ac:chgData name="Dwayne Natwick" userId="d11f0013982d5c78" providerId="Windows Live" clId="Web-{E91C9C7B-BB2D-4AFD-B454-4D10D65794B7}" dt="2023-09-14T19:04:26.719" v="1655" actId="20577"/>
          <ac:spMkLst>
            <pc:docMk/>
            <pc:sldMk cId="4211696148" sldId="2147470622"/>
            <ac:spMk id="2" creationId="{BFA64A8C-98C4-0EC5-C359-C3F08F09CCD2}"/>
          </ac:spMkLst>
        </pc:spChg>
        <pc:spChg chg="add mod">
          <ac:chgData name="Dwayne Natwick" userId="d11f0013982d5c78" providerId="Windows Live" clId="Web-{E91C9C7B-BB2D-4AFD-B454-4D10D65794B7}" dt="2023-09-14T19:04:44.751" v="1660" actId="1076"/>
          <ac:spMkLst>
            <pc:docMk/>
            <pc:sldMk cId="4211696148" sldId="2147470622"/>
            <ac:spMk id="4" creationId="{894C4432-C891-B2F2-36B5-DC9ABE788A25}"/>
          </ac:spMkLst>
        </pc:spChg>
      </pc:sldChg>
    </pc:docChg>
  </pc:docChgLst>
  <pc:docChgLst>
    <pc:chgData name="Dwayne Natwick" userId="3561b13b-c7da-4a5b-9614-8a4db83ccfee" providerId="ADAL" clId="{E95F42E3-C4F3-474F-B9C2-A0BA12FFF20C}"/>
    <pc:docChg chg="custSel addSld modSld">
      <pc:chgData name="Dwayne Natwick" userId="3561b13b-c7da-4a5b-9614-8a4db83ccfee" providerId="ADAL" clId="{E95F42E3-C4F3-474F-B9C2-A0BA12FFF20C}" dt="2023-11-14T16:13:45.874" v="1033" actId="20577"/>
      <pc:docMkLst>
        <pc:docMk/>
      </pc:docMkLst>
      <pc:sldChg chg="modSp mod">
        <pc:chgData name="Dwayne Natwick" userId="3561b13b-c7da-4a5b-9614-8a4db83ccfee" providerId="ADAL" clId="{E95F42E3-C4F3-474F-B9C2-A0BA12FFF20C}" dt="2023-11-13T15:43:05.223" v="9" actId="20577"/>
        <pc:sldMkLst>
          <pc:docMk/>
          <pc:sldMk cId="19297968" sldId="2147470553"/>
        </pc:sldMkLst>
        <pc:spChg chg="mod">
          <ac:chgData name="Dwayne Natwick" userId="3561b13b-c7da-4a5b-9614-8a4db83ccfee" providerId="ADAL" clId="{E95F42E3-C4F3-474F-B9C2-A0BA12FFF20C}" dt="2023-11-13T15:43:05.223" v="9" actId="20577"/>
          <ac:spMkLst>
            <pc:docMk/>
            <pc:sldMk cId="19297968" sldId="2147470553"/>
            <ac:spMk id="2" creationId="{A1A8D485-FD33-2DA7-238E-EDF73027901B}"/>
          </ac:spMkLst>
        </pc:spChg>
      </pc:sldChg>
      <pc:sldChg chg="modSp mod">
        <pc:chgData name="Dwayne Natwick" userId="3561b13b-c7da-4a5b-9614-8a4db83ccfee" providerId="ADAL" clId="{E95F42E3-C4F3-474F-B9C2-A0BA12FFF20C}" dt="2023-11-13T15:43:14.229" v="13" actId="6549"/>
        <pc:sldMkLst>
          <pc:docMk/>
          <pc:sldMk cId="2945821040" sldId="2147470557"/>
        </pc:sldMkLst>
        <pc:spChg chg="mod">
          <ac:chgData name="Dwayne Natwick" userId="3561b13b-c7da-4a5b-9614-8a4db83ccfee" providerId="ADAL" clId="{E95F42E3-C4F3-474F-B9C2-A0BA12FFF20C}" dt="2023-11-13T15:43:09.079" v="10" actId="6549"/>
          <ac:spMkLst>
            <pc:docMk/>
            <pc:sldMk cId="2945821040" sldId="2147470557"/>
            <ac:spMk id="6" creationId="{34C8A714-55EC-40AC-B65A-1F994DEC5152}"/>
          </ac:spMkLst>
        </pc:spChg>
        <pc:spChg chg="mod">
          <ac:chgData name="Dwayne Natwick" userId="3561b13b-c7da-4a5b-9614-8a4db83ccfee" providerId="ADAL" clId="{E95F42E3-C4F3-474F-B9C2-A0BA12FFF20C}" dt="2023-11-13T15:43:10.559" v="11" actId="6549"/>
          <ac:spMkLst>
            <pc:docMk/>
            <pc:sldMk cId="2945821040" sldId="2147470557"/>
            <ac:spMk id="28" creationId="{C9EAB225-5AB7-686B-2B0B-5A0DA0699DAA}"/>
          </ac:spMkLst>
        </pc:spChg>
        <pc:spChg chg="mod">
          <ac:chgData name="Dwayne Natwick" userId="3561b13b-c7da-4a5b-9614-8a4db83ccfee" providerId="ADAL" clId="{E95F42E3-C4F3-474F-B9C2-A0BA12FFF20C}" dt="2023-11-13T15:43:12.511" v="12" actId="6549"/>
          <ac:spMkLst>
            <pc:docMk/>
            <pc:sldMk cId="2945821040" sldId="2147470557"/>
            <ac:spMk id="31" creationId="{396F3C3E-06A6-C7C0-E225-74DAE937B4B6}"/>
          </ac:spMkLst>
        </pc:spChg>
        <pc:spChg chg="mod">
          <ac:chgData name="Dwayne Natwick" userId="3561b13b-c7da-4a5b-9614-8a4db83ccfee" providerId="ADAL" clId="{E95F42E3-C4F3-474F-B9C2-A0BA12FFF20C}" dt="2023-11-13T15:43:14.229" v="13" actId="6549"/>
          <ac:spMkLst>
            <pc:docMk/>
            <pc:sldMk cId="2945821040" sldId="2147470557"/>
            <ac:spMk id="34" creationId="{A53BEA30-32DF-F647-94E1-F0D90C6E0D13}"/>
          </ac:spMkLst>
        </pc:spChg>
      </pc:sldChg>
      <pc:sldChg chg="modSp mod">
        <pc:chgData name="Dwayne Natwick" userId="3561b13b-c7da-4a5b-9614-8a4db83ccfee" providerId="ADAL" clId="{E95F42E3-C4F3-474F-B9C2-A0BA12FFF20C}" dt="2023-11-14T15:50:12.026" v="315" actId="14734"/>
        <pc:sldMkLst>
          <pc:docMk/>
          <pc:sldMk cId="3682517411" sldId="2147470559"/>
        </pc:sldMkLst>
        <pc:graphicFrameChg chg="modGraphic">
          <ac:chgData name="Dwayne Natwick" userId="3561b13b-c7da-4a5b-9614-8a4db83ccfee" providerId="ADAL" clId="{E95F42E3-C4F3-474F-B9C2-A0BA12FFF20C}" dt="2023-11-13T15:43:24.912" v="16" actId="6549"/>
          <ac:graphicFrameMkLst>
            <pc:docMk/>
            <pc:sldMk cId="3682517411" sldId="2147470559"/>
            <ac:graphicFrameMk id="8" creationId="{CC919F4A-A7D9-8DDD-DB16-BF7FF8DD9E3B}"/>
          </ac:graphicFrameMkLst>
        </pc:graphicFrameChg>
        <pc:graphicFrameChg chg="mod modGraphic">
          <ac:chgData name="Dwayne Natwick" userId="3561b13b-c7da-4a5b-9614-8a4db83ccfee" providerId="ADAL" clId="{E95F42E3-C4F3-474F-B9C2-A0BA12FFF20C}" dt="2023-11-14T15:50:12.026" v="315" actId="14734"/>
          <ac:graphicFrameMkLst>
            <pc:docMk/>
            <pc:sldMk cId="3682517411" sldId="2147470559"/>
            <ac:graphicFrameMk id="11" creationId="{A52E73B0-7A2A-ED30-FEF2-D5B76028305D}"/>
          </ac:graphicFrameMkLst>
        </pc:graphicFrameChg>
      </pc:sldChg>
      <pc:sldChg chg="modSp mod">
        <pc:chgData name="Dwayne Natwick" userId="3561b13b-c7da-4a5b-9614-8a4db83ccfee" providerId="ADAL" clId="{E95F42E3-C4F3-474F-B9C2-A0BA12FFF20C}" dt="2023-11-13T15:49:05.045" v="211" actId="1076"/>
        <pc:sldMkLst>
          <pc:docMk/>
          <pc:sldMk cId="1307574574" sldId="2147470566"/>
        </pc:sldMkLst>
        <pc:spChg chg="mod">
          <ac:chgData name="Dwayne Natwick" userId="3561b13b-c7da-4a5b-9614-8a4db83ccfee" providerId="ADAL" clId="{E95F42E3-C4F3-474F-B9C2-A0BA12FFF20C}" dt="2023-11-13T15:48:34.760" v="171" actId="20577"/>
          <ac:spMkLst>
            <pc:docMk/>
            <pc:sldMk cId="1307574574" sldId="2147470566"/>
            <ac:spMk id="18" creationId="{7D66421A-6C08-23BB-D770-A2A0FF91DD1C}"/>
          </ac:spMkLst>
        </pc:spChg>
        <pc:spChg chg="mod">
          <ac:chgData name="Dwayne Natwick" userId="3561b13b-c7da-4a5b-9614-8a4db83ccfee" providerId="ADAL" clId="{E95F42E3-C4F3-474F-B9C2-A0BA12FFF20C}" dt="2023-11-13T15:48:53.404" v="210" actId="20577"/>
          <ac:spMkLst>
            <pc:docMk/>
            <pc:sldMk cId="1307574574" sldId="2147470566"/>
            <ac:spMk id="21" creationId="{87ACA6E9-9681-99AA-65E6-65303BA5F10F}"/>
          </ac:spMkLst>
        </pc:spChg>
        <pc:spChg chg="mod">
          <ac:chgData name="Dwayne Natwick" userId="3561b13b-c7da-4a5b-9614-8a4db83ccfee" providerId="ADAL" clId="{E95F42E3-C4F3-474F-B9C2-A0BA12FFF20C}" dt="2023-11-13T15:48:07.871" v="154" actId="6549"/>
          <ac:spMkLst>
            <pc:docMk/>
            <pc:sldMk cId="1307574574" sldId="2147470566"/>
            <ac:spMk id="24" creationId="{86B4A3BC-B5A8-2BE0-1133-3BA9CB7EDFAB}"/>
          </ac:spMkLst>
        </pc:spChg>
        <pc:spChg chg="mod">
          <ac:chgData name="Dwayne Natwick" userId="3561b13b-c7da-4a5b-9614-8a4db83ccfee" providerId="ADAL" clId="{E95F42E3-C4F3-474F-B9C2-A0BA12FFF20C}" dt="2023-11-13T15:48:02.882" v="153" actId="20577"/>
          <ac:spMkLst>
            <pc:docMk/>
            <pc:sldMk cId="1307574574" sldId="2147470566"/>
            <ac:spMk id="27" creationId="{9ADD736A-323E-6575-0C10-C5BD32DE5235}"/>
          </ac:spMkLst>
        </pc:spChg>
        <pc:grpChg chg="mod">
          <ac:chgData name="Dwayne Natwick" userId="3561b13b-c7da-4a5b-9614-8a4db83ccfee" providerId="ADAL" clId="{E95F42E3-C4F3-474F-B9C2-A0BA12FFF20C}" dt="2023-11-13T15:49:05.045" v="211" actId="1076"/>
          <ac:grpSpMkLst>
            <pc:docMk/>
            <pc:sldMk cId="1307574574" sldId="2147470566"/>
            <ac:grpSpMk id="23" creationId="{9A24B8EE-D560-1520-6402-D508AEA160A5}"/>
          </ac:grpSpMkLst>
        </pc:grpChg>
      </pc:sldChg>
      <pc:sldChg chg="modSp mod">
        <pc:chgData name="Dwayne Natwick" userId="3561b13b-c7da-4a5b-9614-8a4db83ccfee" providerId="ADAL" clId="{E95F42E3-C4F3-474F-B9C2-A0BA12FFF20C}" dt="2023-11-13T15:43:19.725" v="14" actId="6549"/>
        <pc:sldMkLst>
          <pc:docMk/>
          <pc:sldMk cId="2251723249" sldId="2147470571"/>
        </pc:sldMkLst>
        <pc:spChg chg="mod">
          <ac:chgData name="Dwayne Natwick" userId="3561b13b-c7da-4a5b-9614-8a4db83ccfee" providerId="ADAL" clId="{E95F42E3-C4F3-474F-B9C2-A0BA12FFF20C}" dt="2023-11-13T15:43:19.725" v="14" actId="6549"/>
          <ac:spMkLst>
            <pc:docMk/>
            <pc:sldMk cId="2251723249" sldId="2147470571"/>
            <ac:spMk id="4" creationId="{DAA5FD98-5292-2367-63BF-BB583BFC2A96}"/>
          </ac:spMkLst>
        </pc:spChg>
      </pc:sldChg>
      <pc:sldChg chg="modSp mod">
        <pc:chgData name="Dwayne Natwick" userId="3561b13b-c7da-4a5b-9614-8a4db83ccfee" providerId="ADAL" clId="{E95F42E3-C4F3-474F-B9C2-A0BA12FFF20C}" dt="2023-11-13T15:44:44.804" v="41" actId="20577"/>
        <pc:sldMkLst>
          <pc:docMk/>
          <pc:sldMk cId="1259147145" sldId="2147470572"/>
        </pc:sldMkLst>
        <pc:spChg chg="mod">
          <ac:chgData name="Dwayne Natwick" userId="3561b13b-c7da-4a5b-9614-8a4db83ccfee" providerId="ADAL" clId="{E95F42E3-C4F3-474F-B9C2-A0BA12FFF20C}" dt="2023-11-13T15:44:04.440" v="22" actId="6549"/>
          <ac:spMkLst>
            <pc:docMk/>
            <pc:sldMk cId="1259147145" sldId="2147470572"/>
            <ac:spMk id="21" creationId="{68C8CFE1-65AB-E14A-D550-F9CC1A93CFC5}"/>
          </ac:spMkLst>
        </pc:spChg>
        <pc:spChg chg="mod">
          <ac:chgData name="Dwayne Natwick" userId="3561b13b-c7da-4a5b-9614-8a4db83ccfee" providerId="ADAL" clId="{E95F42E3-C4F3-474F-B9C2-A0BA12FFF20C}" dt="2023-11-13T15:44:06.289" v="23" actId="6549"/>
          <ac:spMkLst>
            <pc:docMk/>
            <pc:sldMk cId="1259147145" sldId="2147470572"/>
            <ac:spMk id="27" creationId="{2110CA23-E319-B299-E485-6F98BFAFC1EC}"/>
          </ac:spMkLst>
        </pc:spChg>
        <pc:spChg chg="mod">
          <ac:chgData name="Dwayne Natwick" userId="3561b13b-c7da-4a5b-9614-8a4db83ccfee" providerId="ADAL" clId="{E95F42E3-C4F3-474F-B9C2-A0BA12FFF20C}" dt="2023-11-13T15:44:13.249" v="26" actId="6549"/>
          <ac:spMkLst>
            <pc:docMk/>
            <pc:sldMk cId="1259147145" sldId="2147470572"/>
            <ac:spMk id="32" creationId="{93C8FB2B-8EDA-992B-5C01-296093DB1125}"/>
          </ac:spMkLst>
        </pc:spChg>
        <pc:spChg chg="mod">
          <ac:chgData name="Dwayne Natwick" userId="3561b13b-c7da-4a5b-9614-8a4db83ccfee" providerId="ADAL" clId="{E95F42E3-C4F3-474F-B9C2-A0BA12FFF20C}" dt="2023-11-13T15:44:44.804" v="41" actId="20577"/>
          <ac:spMkLst>
            <pc:docMk/>
            <pc:sldMk cId="1259147145" sldId="2147470572"/>
            <ac:spMk id="56" creationId="{87C697D9-D5F1-EBDD-81F9-D4CB7DC374D4}"/>
          </ac:spMkLst>
        </pc:spChg>
      </pc:sldChg>
      <pc:sldChg chg="modSp mod">
        <pc:chgData name="Dwayne Natwick" userId="3561b13b-c7da-4a5b-9614-8a4db83ccfee" providerId="ADAL" clId="{E95F42E3-C4F3-474F-B9C2-A0BA12FFF20C}" dt="2023-11-13T15:46:29.293" v="145" actId="20577"/>
        <pc:sldMkLst>
          <pc:docMk/>
          <pc:sldMk cId="1929971971" sldId="2147470610"/>
        </pc:sldMkLst>
        <pc:spChg chg="mod">
          <ac:chgData name="Dwayne Natwick" userId="3561b13b-c7da-4a5b-9614-8a4db83ccfee" providerId="ADAL" clId="{E95F42E3-C4F3-474F-B9C2-A0BA12FFF20C}" dt="2023-11-13T15:46:29.293" v="145" actId="20577"/>
          <ac:spMkLst>
            <pc:docMk/>
            <pc:sldMk cId="1929971971" sldId="2147470610"/>
            <ac:spMk id="2" creationId="{105B6354-2028-24B8-66E1-0D45962243CA}"/>
          </ac:spMkLst>
        </pc:spChg>
        <pc:graphicFrameChg chg="mod">
          <ac:chgData name="Dwayne Natwick" userId="3561b13b-c7da-4a5b-9614-8a4db83ccfee" providerId="ADAL" clId="{E95F42E3-C4F3-474F-B9C2-A0BA12FFF20C}" dt="2023-11-13T15:46:20.626" v="137" actId="20577"/>
          <ac:graphicFrameMkLst>
            <pc:docMk/>
            <pc:sldMk cId="1929971971" sldId="2147470610"/>
            <ac:graphicFrameMk id="11" creationId="{F05A35D9-D1C5-338E-A24B-63C76BB54E45}"/>
          </ac:graphicFrameMkLst>
        </pc:graphicFrameChg>
      </pc:sldChg>
      <pc:sldChg chg="mod modShow">
        <pc:chgData name="Dwayne Natwick" userId="3561b13b-c7da-4a5b-9614-8a4db83ccfee" providerId="ADAL" clId="{E95F42E3-C4F3-474F-B9C2-A0BA12FFF20C}" dt="2023-11-14T15:45:01.068" v="236" actId="729"/>
        <pc:sldMkLst>
          <pc:docMk/>
          <pc:sldMk cId="2524577050" sldId="2147470612"/>
        </pc:sldMkLst>
      </pc:sldChg>
      <pc:sldChg chg="modSp mod">
        <pc:chgData name="Dwayne Natwick" userId="3561b13b-c7da-4a5b-9614-8a4db83ccfee" providerId="ADAL" clId="{E95F42E3-C4F3-474F-B9C2-A0BA12FFF20C}" dt="2023-11-14T16:05:58.160" v="385" actId="20577"/>
        <pc:sldMkLst>
          <pc:docMk/>
          <pc:sldMk cId="3572404749" sldId="2147470618"/>
        </pc:sldMkLst>
        <pc:spChg chg="mod">
          <ac:chgData name="Dwayne Natwick" userId="3561b13b-c7da-4a5b-9614-8a4db83ccfee" providerId="ADAL" clId="{E95F42E3-C4F3-474F-B9C2-A0BA12FFF20C}" dt="2023-11-14T16:05:58.160" v="385" actId="20577"/>
          <ac:spMkLst>
            <pc:docMk/>
            <pc:sldMk cId="3572404749" sldId="2147470618"/>
            <ac:spMk id="2" creationId="{EDF87A23-46AF-F5CE-1408-BC8C91B71A9B}"/>
          </ac:spMkLst>
        </pc:spChg>
      </pc:sldChg>
      <pc:sldChg chg="modSp">
        <pc:chgData name="Dwayne Natwick" userId="3561b13b-c7da-4a5b-9614-8a4db83ccfee" providerId="ADAL" clId="{E95F42E3-C4F3-474F-B9C2-A0BA12FFF20C}" dt="2023-11-13T15:46:59.410" v="146" actId="20577"/>
        <pc:sldMkLst>
          <pc:docMk/>
          <pc:sldMk cId="3776730813" sldId="2147470620"/>
        </pc:sldMkLst>
        <pc:graphicFrameChg chg="mod">
          <ac:chgData name="Dwayne Natwick" userId="3561b13b-c7da-4a5b-9614-8a4db83ccfee" providerId="ADAL" clId="{E95F42E3-C4F3-474F-B9C2-A0BA12FFF20C}" dt="2023-11-13T15:46:59.410" v="146" actId="20577"/>
          <ac:graphicFrameMkLst>
            <pc:docMk/>
            <pc:sldMk cId="3776730813" sldId="2147470620"/>
            <ac:graphicFrameMk id="5" creationId="{EAD11503-D133-32E7-E133-88CB07DFE0F3}"/>
          </ac:graphicFrameMkLst>
        </pc:graphicFrameChg>
      </pc:sldChg>
      <pc:sldChg chg="modSp new mod">
        <pc:chgData name="Dwayne Natwick" userId="3561b13b-c7da-4a5b-9614-8a4db83ccfee" providerId="ADAL" clId="{E95F42E3-C4F3-474F-B9C2-A0BA12FFF20C}" dt="2023-11-14T16:11:45.530" v="971" actId="20577"/>
        <pc:sldMkLst>
          <pc:docMk/>
          <pc:sldMk cId="2990052108" sldId="2147470623"/>
        </pc:sldMkLst>
        <pc:spChg chg="mod">
          <ac:chgData name="Dwayne Natwick" userId="3561b13b-c7da-4a5b-9614-8a4db83ccfee" providerId="ADAL" clId="{E95F42E3-C4F3-474F-B9C2-A0BA12FFF20C}" dt="2023-11-14T15:45:24.900" v="254" actId="20577"/>
          <ac:spMkLst>
            <pc:docMk/>
            <pc:sldMk cId="2990052108" sldId="2147470623"/>
            <ac:spMk id="2" creationId="{1DF7B20E-BDDA-FD42-628C-C0761EA21203}"/>
          </ac:spMkLst>
        </pc:spChg>
        <pc:spChg chg="mod">
          <ac:chgData name="Dwayne Natwick" userId="3561b13b-c7da-4a5b-9614-8a4db83ccfee" providerId="ADAL" clId="{E95F42E3-C4F3-474F-B9C2-A0BA12FFF20C}" dt="2023-11-14T16:11:45.530" v="971" actId="20577"/>
          <ac:spMkLst>
            <pc:docMk/>
            <pc:sldMk cId="2990052108" sldId="2147470623"/>
            <ac:spMk id="3" creationId="{69CA874A-9652-F723-DEFE-FBA3B96CA7BC}"/>
          </ac:spMkLst>
        </pc:spChg>
      </pc:sldChg>
      <pc:sldChg chg="modSp add mod">
        <pc:chgData name="Dwayne Natwick" userId="3561b13b-c7da-4a5b-9614-8a4db83ccfee" providerId="ADAL" clId="{E95F42E3-C4F3-474F-B9C2-A0BA12FFF20C}" dt="2023-11-14T16:13:13.654" v="1030" actId="20577"/>
        <pc:sldMkLst>
          <pc:docMk/>
          <pc:sldMk cId="1348257230" sldId="2147470624"/>
        </pc:sldMkLst>
        <pc:spChg chg="mod">
          <ac:chgData name="Dwayne Natwick" userId="3561b13b-c7da-4a5b-9614-8a4db83ccfee" providerId="ADAL" clId="{E95F42E3-C4F3-474F-B9C2-A0BA12FFF20C}" dt="2023-11-14T16:12:28.908" v="1028" actId="20577"/>
          <ac:spMkLst>
            <pc:docMk/>
            <pc:sldMk cId="1348257230" sldId="2147470624"/>
            <ac:spMk id="2" creationId="{1DF7B20E-BDDA-FD42-628C-C0761EA21203}"/>
          </ac:spMkLst>
        </pc:spChg>
        <pc:spChg chg="mod">
          <ac:chgData name="Dwayne Natwick" userId="3561b13b-c7da-4a5b-9614-8a4db83ccfee" providerId="ADAL" clId="{E95F42E3-C4F3-474F-B9C2-A0BA12FFF20C}" dt="2023-11-14T16:13:13.654" v="1030" actId="20577"/>
          <ac:spMkLst>
            <pc:docMk/>
            <pc:sldMk cId="1348257230" sldId="2147470624"/>
            <ac:spMk id="3" creationId="{69CA874A-9652-F723-DEFE-FBA3B96CA7BC}"/>
          </ac:spMkLst>
        </pc:spChg>
      </pc:sldChg>
      <pc:sldChg chg="delSp modSp add mod">
        <pc:chgData name="Dwayne Natwick" userId="3561b13b-c7da-4a5b-9614-8a4db83ccfee" providerId="ADAL" clId="{E95F42E3-C4F3-474F-B9C2-A0BA12FFF20C}" dt="2023-11-14T16:00:25.176" v="383" actId="20577"/>
        <pc:sldMkLst>
          <pc:docMk/>
          <pc:sldMk cId="481991722" sldId="2147470625"/>
        </pc:sldMkLst>
        <pc:graphicFrameChg chg="del">
          <ac:chgData name="Dwayne Natwick" userId="3561b13b-c7da-4a5b-9614-8a4db83ccfee" providerId="ADAL" clId="{E95F42E3-C4F3-474F-B9C2-A0BA12FFF20C}" dt="2023-11-14T15:56:20.130" v="317" actId="478"/>
          <ac:graphicFrameMkLst>
            <pc:docMk/>
            <pc:sldMk cId="481991722" sldId="2147470625"/>
            <ac:graphicFrameMk id="8" creationId="{CC919F4A-A7D9-8DDD-DB16-BF7FF8DD9E3B}"/>
          </ac:graphicFrameMkLst>
        </pc:graphicFrameChg>
        <pc:graphicFrameChg chg="mod modGraphic">
          <ac:chgData name="Dwayne Natwick" userId="3561b13b-c7da-4a5b-9614-8a4db83ccfee" providerId="ADAL" clId="{E95F42E3-C4F3-474F-B9C2-A0BA12FFF20C}" dt="2023-11-14T16:00:25.176" v="383" actId="20577"/>
          <ac:graphicFrameMkLst>
            <pc:docMk/>
            <pc:sldMk cId="481991722" sldId="2147470625"/>
            <ac:graphicFrameMk id="11" creationId="{A52E73B0-7A2A-ED30-FEF2-D5B76028305D}"/>
          </ac:graphicFrameMkLst>
        </pc:graphicFrameChg>
      </pc:sldChg>
      <pc:sldChg chg="modSp new mod modNotesTx">
        <pc:chgData name="Dwayne Natwick" userId="3561b13b-c7da-4a5b-9614-8a4db83ccfee" providerId="ADAL" clId="{E95F42E3-C4F3-474F-B9C2-A0BA12FFF20C}" dt="2023-11-14T16:13:45.874" v="1033" actId="20577"/>
        <pc:sldMkLst>
          <pc:docMk/>
          <pc:sldMk cId="870078105" sldId="2147470626"/>
        </pc:sldMkLst>
        <pc:spChg chg="mod">
          <ac:chgData name="Dwayne Natwick" userId="3561b13b-c7da-4a5b-9614-8a4db83ccfee" providerId="ADAL" clId="{E95F42E3-C4F3-474F-B9C2-A0BA12FFF20C}" dt="2023-11-14T16:12:16.329" v="1008" actId="20577"/>
          <ac:spMkLst>
            <pc:docMk/>
            <pc:sldMk cId="870078105" sldId="2147470626"/>
            <ac:spMk id="2" creationId="{FC074790-19A4-EFC1-BD1E-9D989E35927B}"/>
          </ac:spMkLst>
        </pc:spChg>
        <pc:spChg chg="mod">
          <ac:chgData name="Dwayne Natwick" userId="3561b13b-c7da-4a5b-9614-8a4db83ccfee" providerId="ADAL" clId="{E95F42E3-C4F3-474F-B9C2-A0BA12FFF20C}" dt="2023-11-14T16:13:45.874" v="1033" actId="20577"/>
          <ac:spMkLst>
            <pc:docMk/>
            <pc:sldMk cId="870078105" sldId="2147470626"/>
            <ac:spMk id="3" creationId="{8E9FBFAB-26A7-4035-93DF-812906DE89B7}"/>
          </ac:spMkLst>
        </pc:spChg>
      </pc:sldChg>
    </pc:docChg>
  </pc:docChgLst>
  <pc:docChgLst>
    <pc:chgData name="Dwayne Natwick" userId="d11f0013982d5c78" providerId="LiveId" clId="{67AF20B4-6DC7-492D-BA3B-9FCF6F9AD6CF}"/>
    <pc:docChg chg="undo custSel modSld">
      <pc:chgData name="Dwayne Natwick" userId="d11f0013982d5c78" providerId="LiveId" clId="{67AF20B4-6DC7-492D-BA3B-9FCF6F9AD6CF}" dt="2023-09-15T12:33:18.323" v="157" actId="478"/>
      <pc:docMkLst>
        <pc:docMk/>
      </pc:docMkLst>
      <pc:sldChg chg="addSp modSp mod modClrScheme chgLayout">
        <pc:chgData name="Dwayne Natwick" userId="d11f0013982d5c78" providerId="LiveId" clId="{67AF20B4-6DC7-492D-BA3B-9FCF6F9AD6CF}" dt="2023-09-15T12:22:20.232" v="0" actId="26606"/>
        <pc:sldMkLst>
          <pc:docMk/>
          <pc:sldMk cId="2839524364" sldId="2147470607"/>
        </pc:sldMkLst>
        <pc:spChg chg="mod">
          <ac:chgData name="Dwayne Natwick" userId="d11f0013982d5c78" providerId="LiveId" clId="{67AF20B4-6DC7-492D-BA3B-9FCF6F9AD6CF}" dt="2023-09-15T12:22:20.232" v="0" actId="26606"/>
          <ac:spMkLst>
            <pc:docMk/>
            <pc:sldMk cId="2839524364" sldId="2147470607"/>
            <ac:spMk id="2" creationId="{09C07B8E-14FF-3C2D-BE0E-F25E0D4B4DB3}"/>
          </ac:spMkLst>
        </pc:spChg>
        <pc:spChg chg="mod">
          <ac:chgData name="Dwayne Natwick" userId="d11f0013982d5c78" providerId="LiveId" clId="{67AF20B4-6DC7-492D-BA3B-9FCF6F9AD6CF}" dt="2023-09-15T12:22:20.232" v="0" actId="26606"/>
          <ac:spMkLst>
            <pc:docMk/>
            <pc:sldMk cId="2839524364" sldId="2147470607"/>
            <ac:spMk id="3" creationId="{C9D88242-39E7-FD9D-8E94-B07DD53805B5}"/>
          </ac:spMkLst>
        </pc:spChg>
        <pc:spChg chg="add mod">
          <ac:chgData name="Dwayne Natwick" userId="d11f0013982d5c78" providerId="LiveId" clId="{67AF20B4-6DC7-492D-BA3B-9FCF6F9AD6CF}" dt="2023-09-15T12:22:20.232" v="0" actId="26606"/>
          <ac:spMkLst>
            <pc:docMk/>
            <pc:sldMk cId="2839524364" sldId="2147470607"/>
            <ac:spMk id="8" creationId="{0BEC7ADA-45E0-D0DE-3260-36E676ED3447}"/>
          </ac:spMkLst>
        </pc:spChg>
      </pc:sldChg>
      <pc:sldChg chg="addSp delSp modSp mod modClrScheme chgLayout">
        <pc:chgData name="Dwayne Natwick" userId="d11f0013982d5c78" providerId="LiveId" clId="{67AF20B4-6DC7-492D-BA3B-9FCF6F9AD6CF}" dt="2023-09-15T12:22:53.331" v="4" actId="207"/>
        <pc:sldMkLst>
          <pc:docMk/>
          <pc:sldMk cId="4086260143" sldId="2147470608"/>
        </pc:sldMkLst>
        <pc:spChg chg="mod">
          <ac:chgData name="Dwayne Natwick" userId="d11f0013982d5c78" providerId="LiveId" clId="{67AF20B4-6DC7-492D-BA3B-9FCF6F9AD6CF}" dt="2023-09-15T12:22:43.779" v="3" actId="26606"/>
          <ac:spMkLst>
            <pc:docMk/>
            <pc:sldMk cId="4086260143" sldId="2147470608"/>
            <ac:spMk id="2" creationId="{BA3D571B-B150-1C46-5F05-A09D93B7AE7A}"/>
          </ac:spMkLst>
        </pc:spChg>
        <pc:spChg chg="del">
          <ac:chgData name="Dwayne Natwick" userId="d11f0013982d5c78" providerId="LiveId" clId="{67AF20B4-6DC7-492D-BA3B-9FCF6F9AD6CF}" dt="2023-09-15T12:22:30.594" v="1" actId="26606"/>
          <ac:spMkLst>
            <pc:docMk/>
            <pc:sldMk cId="4086260143" sldId="2147470608"/>
            <ac:spMk id="3" creationId="{EEA0802F-FB95-E549-566C-5C162DF6AE92}"/>
          </ac:spMkLst>
        </pc:spChg>
        <pc:spChg chg="add del mod">
          <ac:chgData name="Dwayne Natwick" userId="d11f0013982d5c78" providerId="LiveId" clId="{67AF20B4-6DC7-492D-BA3B-9FCF6F9AD6CF}" dt="2023-09-15T12:22:37.849" v="2" actId="478"/>
          <ac:spMkLst>
            <pc:docMk/>
            <pc:sldMk cId="4086260143" sldId="2147470608"/>
            <ac:spMk id="9" creationId="{3C859FFF-7BFD-5EEA-4747-C61450C010D9}"/>
          </ac:spMkLst>
        </pc:spChg>
        <pc:graphicFrameChg chg="add mod modGraphic">
          <ac:chgData name="Dwayne Natwick" userId="d11f0013982d5c78" providerId="LiveId" clId="{67AF20B4-6DC7-492D-BA3B-9FCF6F9AD6CF}" dt="2023-09-15T12:22:53.331" v="4" actId="207"/>
          <ac:graphicFrameMkLst>
            <pc:docMk/>
            <pc:sldMk cId="4086260143" sldId="2147470608"/>
            <ac:graphicFrameMk id="5" creationId="{02521839-71E7-D3DB-2A79-15E7270E214C}"/>
          </ac:graphicFrameMkLst>
        </pc:graphicFrameChg>
      </pc:sldChg>
      <pc:sldChg chg="addSp delSp modSp mod">
        <pc:chgData name="Dwayne Natwick" userId="d11f0013982d5c78" providerId="LiveId" clId="{67AF20B4-6DC7-492D-BA3B-9FCF6F9AD6CF}" dt="2023-09-15T12:24:13.533" v="6" actId="207"/>
        <pc:sldMkLst>
          <pc:docMk/>
          <pc:sldMk cId="379969417" sldId="2147470609"/>
        </pc:sldMkLst>
        <pc:spChg chg="mod">
          <ac:chgData name="Dwayne Natwick" userId="d11f0013982d5c78" providerId="LiveId" clId="{67AF20B4-6DC7-492D-BA3B-9FCF6F9AD6CF}" dt="2023-09-15T12:23:48.613" v="5" actId="26606"/>
          <ac:spMkLst>
            <pc:docMk/>
            <pc:sldMk cId="379969417" sldId="2147470609"/>
            <ac:spMk id="2" creationId="{C144469C-FA2E-89F4-8275-78C7809263F1}"/>
          </ac:spMkLst>
        </pc:spChg>
        <pc:spChg chg="del">
          <ac:chgData name="Dwayne Natwick" userId="d11f0013982d5c78" providerId="LiveId" clId="{67AF20B4-6DC7-492D-BA3B-9FCF6F9AD6CF}" dt="2023-09-15T12:23:48.613" v="5" actId="26606"/>
          <ac:spMkLst>
            <pc:docMk/>
            <pc:sldMk cId="379969417" sldId="2147470609"/>
            <ac:spMk id="3" creationId="{F3C47606-EBF4-2063-DFC2-36C74BD4FA71}"/>
          </ac:spMkLst>
        </pc:spChg>
        <pc:graphicFrameChg chg="add mod">
          <ac:chgData name="Dwayne Natwick" userId="d11f0013982d5c78" providerId="LiveId" clId="{67AF20B4-6DC7-492D-BA3B-9FCF6F9AD6CF}" dt="2023-09-15T12:24:13.533" v="6" actId="207"/>
          <ac:graphicFrameMkLst>
            <pc:docMk/>
            <pc:sldMk cId="379969417" sldId="2147470609"/>
            <ac:graphicFrameMk id="6" creationId="{8F951D51-311C-2EFC-35E8-15B871457F00}"/>
          </ac:graphicFrameMkLst>
        </pc:graphicFrameChg>
      </pc:sldChg>
      <pc:sldChg chg="addSp delSp modSp mod modClrScheme chgLayout">
        <pc:chgData name="Dwayne Natwick" userId="d11f0013982d5c78" providerId="LiveId" clId="{67AF20B4-6DC7-492D-BA3B-9FCF6F9AD6CF}" dt="2023-09-15T12:26:06.004" v="28" actId="26606"/>
        <pc:sldMkLst>
          <pc:docMk/>
          <pc:sldMk cId="1929971971" sldId="2147470610"/>
        </pc:sldMkLst>
        <pc:spChg chg="mod">
          <ac:chgData name="Dwayne Natwick" userId="d11f0013982d5c78" providerId="LiveId" clId="{67AF20B4-6DC7-492D-BA3B-9FCF6F9AD6CF}" dt="2023-09-15T12:26:06.004" v="28" actId="26606"/>
          <ac:spMkLst>
            <pc:docMk/>
            <pc:sldMk cId="1929971971" sldId="2147470610"/>
            <ac:spMk id="2" creationId="{105B6354-2028-24B8-66E1-0D45962243CA}"/>
          </ac:spMkLst>
        </pc:spChg>
        <pc:spChg chg="add del">
          <ac:chgData name="Dwayne Natwick" userId="d11f0013982d5c78" providerId="LiveId" clId="{67AF20B4-6DC7-492D-BA3B-9FCF6F9AD6CF}" dt="2023-09-15T12:26:06.004" v="28" actId="26606"/>
          <ac:spMkLst>
            <pc:docMk/>
            <pc:sldMk cId="1929971971" sldId="2147470610"/>
            <ac:spMk id="3" creationId="{7407A4C3-86E5-EFE8-1E18-DC50FF22703B}"/>
          </ac:spMkLst>
        </pc:spChg>
        <pc:spChg chg="add del mod">
          <ac:chgData name="Dwayne Natwick" userId="d11f0013982d5c78" providerId="LiveId" clId="{67AF20B4-6DC7-492D-BA3B-9FCF6F9AD6CF}" dt="2023-09-15T12:26:05.986" v="27" actId="26606"/>
          <ac:spMkLst>
            <pc:docMk/>
            <pc:sldMk cId="1929971971" sldId="2147470610"/>
            <ac:spMk id="9" creationId="{BCECCEF1-42D4-E371-C1D3-B372EBE08756}"/>
          </ac:spMkLst>
        </pc:spChg>
        <pc:graphicFrameChg chg="add del">
          <ac:chgData name="Dwayne Natwick" userId="d11f0013982d5c78" providerId="LiveId" clId="{67AF20B4-6DC7-492D-BA3B-9FCF6F9AD6CF}" dt="2023-09-15T12:25:53.241" v="25" actId="26606"/>
          <ac:graphicFrameMkLst>
            <pc:docMk/>
            <pc:sldMk cId="1929971971" sldId="2147470610"/>
            <ac:graphicFrameMk id="5" creationId="{F05A35D9-D1C5-338E-A24B-63C76BB54E45}"/>
          </ac:graphicFrameMkLst>
        </pc:graphicFrameChg>
        <pc:graphicFrameChg chg="add del mod">
          <ac:chgData name="Dwayne Natwick" userId="d11f0013982d5c78" providerId="LiveId" clId="{67AF20B4-6DC7-492D-BA3B-9FCF6F9AD6CF}" dt="2023-09-15T12:26:05.986" v="27" actId="26606"/>
          <ac:graphicFrameMkLst>
            <pc:docMk/>
            <pc:sldMk cId="1929971971" sldId="2147470610"/>
            <ac:graphicFrameMk id="7" creationId="{CFDAEFEF-2C5F-EEFF-B591-6ABE2E227E31}"/>
          </ac:graphicFrameMkLst>
        </pc:graphicFrameChg>
        <pc:graphicFrameChg chg="add">
          <ac:chgData name="Dwayne Natwick" userId="d11f0013982d5c78" providerId="LiveId" clId="{67AF20B4-6DC7-492D-BA3B-9FCF6F9AD6CF}" dt="2023-09-15T12:26:06.004" v="28" actId="26606"/>
          <ac:graphicFrameMkLst>
            <pc:docMk/>
            <pc:sldMk cId="1929971971" sldId="2147470610"/>
            <ac:graphicFrameMk id="11" creationId="{F05A35D9-D1C5-338E-A24B-63C76BB54E45}"/>
          </ac:graphicFrameMkLst>
        </pc:graphicFrameChg>
      </pc:sldChg>
      <pc:sldChg chg="addSp delSp modSp mod">
        <pc:chgData name="Dwayne Natwick" userId="d11f0013982d5c78" providerId="LiveId" clId="{67AF20B4-6DC7-492D-BA3B-9FCF6F9AD6CF}" dt="2023-09-15T12:24:51.046" v="11" actId="26606"/>
        <pc:sldMkLst>
          <pc:docMk/>
          <pc:sldMk cId="2421521076" sldId="2147470611"/>
        </pc:sldMkLst>
        <pc:spChg chg="mod">
          <ac:chgData name="Dwayne Natwick" userId="d11f0013982d5c78" providerId="LiveId" clId="{67AF20B4-6DC7-492D-BA3B-9FCF6F9AD6CF}" dt="2023-09-15T12:24:51.046" v="11" actId="26606"/>
          <ac:spMkLst>
            <pc:docMk/>
            <pc:sldMk cId="2421521076" sldId="2147470611"/>
            <ac:spMk id="2" creationId="{0F4D640B-8499-E0C5-C508-35266E13B6E6}"/>
          </ac:spMkLst>
        </pc:spChg>
        <pc:spChg chg="del">
          <ac:chgData name="Dwayne Natwick" userId="d11f0013982d5c78" providerId="LiveId" clId="{67AF20B4-6DC7-492D-BA3B-9FCF6F9AD6CF}" dt="2023-09-15T12:24:51.046" v="11" actId="26606"/>
          <ac:spMkLst>
            <pc:docMk/>
            <pc:sldMk cId="2421521076" sldId="2147470611"/>
            <ac:spMk id="3" creationId="{358EA097-101A-43CC-781A-E0E92A4D22E7}"/>
          </ac:spMkLst>
        </pc:spChg>
        <pc:graphicFrameChg chg="add">
          <ac:chgData name="Dwayne Natwick" userId="d11f0013982d5c78" providerId="LiveId" clId="{67AF20B4-6DC7-492D-BA3B-9FCF6F9AD6CF}" dt="2023-09-15T12:24:51.046" v="11" actId="26606"/>
          <ac:graphicFrameMkLst>
            <pc:docMk/>
            <pc:sldMk cId="2421521076" sldId="2147470611"/>
            <ac:graphicFrameMk id="5" creationId="{A5BBB90B-5CC9-A280-14DC-2C91D4F347EE}"/>
          </ac:graphicFrameMkLst>
        </pc:graphicFrameChg>
      </pc:sldChg>
      <pc:sldChg chg="delSp mod modNotesTx">
        <pc:chgData name="Dwayne Natwick" userId="d11f0013982d5c78" providerId="LiveId" clId="{67AF20B4-6DC7-492D-BA3B-9FCF6F9AD6CF}" dt="2023-09-15T12:33:18.323" v="157" actId="478"/>
        <pc:sldMkLst>
          <pc:docMk/>
          <pc:sldMk cId="2524577050" sldId="2147470612"/>
        </pc:sldMkLst>
        <pc:spChg chg="del">
          <ac:chgData name="Dwayne Natwick" userId="d11f0013982d5c78" providerId="LiveId" clId="{67AF20B4-6DC7-492D-BA3B-9FCF6F9AD6CF}" dt="2023-09-15T12:33:18.323" v="157" actId="478"/>
          <ac:spMkLst>
            <pc:docMk/>
            <pc:sldMk cId="2524577050" sldId="2147470612"/>
            <ac:spMk id="4" creationId="{57240181-C93A-F4E8-472C-1AF0F2C2A855}"/>
          </ac:spMkLst>
        </pc:spChg>
        <pc:spChg chg="del">
          <ac:chgData name="Dwayne Natwick" userId="d11f0013982d5c78" providerId="LiveId" clId="{67AF20B4-6DC7-492D-BA3B-9FCF6F9AD6CF}" dt="2023-09-15T12:33:13.947" v="156" actId="478"/>
          <ac:spMkLst>
            <pc:docMk/>
            <pc:sldMk cId="2524577050" sldId="2147470612"/>
            <ac:spMk id="5" creationId="{D3A447DE-6903-1590-61FB-AB160302D80B}"/>
          </ac:spMkLst>
        </pc:spChg>
        <pc:spChg chg="del">
          <ac:chgData name="Dwayne Natwick" userId="d11f0013982d5c78" providerId="LiveId" clId="{67AF20B4-6DC7-492D-BA3B-9FCF6F9AD6CF}" dt="2023-09-15T12:33:06.604" v="154" actId="478"/>
          <ac:spMkLst>
            <pc:docMk/>
            <pc:sldMk cId="2524577050" sldId="2147470612"/>
            <ac:spMk id="6" creationId="{520C77B9-C55A-8B6C-DC16-CEE27B62CD45}"/>
          </ac:spMkLst>
        </pc:spChg>
        <pc:spChg chg="del">
          <ac:chgData name="Dwayne Natwick" userId="d11f0013982d5c78" providerId="LiveId" clId="{67AF20B4-6DC7-492D-BA3B-9FCF6F9AD6CF}" dt="2023-09-15T12:33:11.398" v="155" actId="478"/>
          <ac:spMkLst>
            <pc:docMk/>
            <pc:sldMk cId="2524577050" sldId="2147470612"/>
            <ac:spMk id="7" creationId="{C25B8EDA-4C77-A71B-612F-D5F8559DF688}"/>
          </ac:spMkLst>
        </pc:spChg>
      </pc:sldChg>
      <pc:sldChg chg="modSp mod">
        <pc:chgData name="Dwayne Natwick" userId="d11f0013982d5c78" providerId="LiveId" clId="{67AF20B4-6DC7-492D-BA3B-9FCF6F9AD6CF}" dt="2023-09-15T12:24:40.874" v="10" actId="14100"/>
        <pc:sldMkLst>
          <pc:docMk/>
          <pc:sldMk cId="848203549" sldId="2147470613"/>
        </pc:sldMkLst>
        <pc:spChg chg="mod ord">
          <ac:chgData name="Dwayne Natwick" userId="d11f0013982d5c78" providerId="LiveId" clId="{67AF20B4-6DC7-492D-BA3B-9FCF6F9AD6CF}" dt="2023-09-15T12:24:40.874" v="10" actId="14100"/>
          <ac:spMkLst>
            <pc:docMk/>
            <pc:sldMk cId="848203549" sldId="2147470613"/>
            <ac:spMk id="3" creationId="{2E50BA7C-3255-BC69-812B-892217F5D36D}"/>
          </ac:spMkLst>
        </pc:spChg>
        <pc:picChg chg="mod">
          <ac:chgData name="Dwayne Natwick" userId="d11f0013982d5c78" providerId="LiveId" clId="{67AF20B4-6DC7-492D-BA3B-9FCF6F9AD6CF}" dt="2023-09-15T12:24:28.644" v="7" actId="26606"/>
          <ac:picMkLst>
            <pc:docMk/>
            <pc:sldMk cId="848203549" sldId="2147470613"/>
            <ac:picMk id="4" creationId="{D26C38C8-22B0-0868-2D0E-669BDC2059B1}"/>
          </ac:picMkLst>
        </pc:picChg>
      </pc:sldChg>
      <pc:sldChg chg="addSp delSp modSp mod modClrScheme chgLayout">
        <pc:chgData name="Dwayne Natwick" userId="d11f0013982d5c78" providerId="LiveId" clId="{67AF20B4-6DC7-492D-BA3B-9FCF6F9AD6CF}" dt="2023-09-15T12:25:30.016" v="23" actId="404"/>
        <pc:sldMkLst>
          <pc:docMk/>
          <pc:sldMk cId="3770102974" sldId="2147470614"/>
        </pc:sldMkLst>
        <pc:spChg chg="mod">
          <ac:chgData name="Dwayne Natwick" userId="d11f0013982d5c78" providerId="LiveId" clId="{67AF20B4-6DC7-492D-BA3B-9FCF6F9AD6CF}" dt="2023-09-15T12:25:17.917" v="16" actId="26606"/>
          <ac:spMkLst>
            <pc:docMk/>
            <pc:sldMk cId="3770102974" sldId="2147470614"/>
            <ac:spMk id="2" creationId="{CFCF5E71-8482-5C4A-1937-62180CED69B1}"/>
          </ac:spMkLst>
        </pc:spChg>
        <pc:spChg chg="add del">
          <ac:chgData name="Dwayne Natwick" userId="d11f0013982d5c78" providerId="LiveId" clId="{67AF20B4-6DC7-492D-BA3B-9FCF6F9AD6CF}" dt="2023-09-15T12:25:09.961" v="14" actId="26606"/>
          <ac:spMkLst>
            <pc:docMk/>
            <pc:sldMk cId="3770102974" sldId="2147470614"/>
            <ac:spMk id="3" creationId="{2E8F6CC6-DEE5-E7CD-0610-AF173BD7F8EC}"/>
          </ac:spMkLst>
        </pc:spChg>
        <pc:spChg chg="add del mod">
          <ac:chgData name="Dwayne Natwick" userId="d11f0013982d5c78" providerId="LiveId" clId="{67AF20B4-6DC7-492D-BA3B-9FCF6F9AD6CF}" dt="2023-09-15T12:25:14.440" v="15" actId="478"/>
          <ac:spMkLst>
            <pc:docMk/>
            <pc:sldMk cId="3770102974" sldId="2147470614"/>
            <ac:spMk id="9" creationId="{58699FEA-8D93-6C54-EB4F-88BC2FCE5915}"/>
          </ac:spMkLst>
        </pc:spChg>
        <pc:graphicFrameChg chg="add del">
          <ac:chgData name="Dwayne Natwick" userId="d11f0013982d5c78" providerId="LiveId" clId="{67AF20B4-6DC7-492D-BA3B-9FCF6F9AD6CF}" dt="2023-09-15T12:25:09.866" v="13" actId="26606"/>
          <ac:graphicFrameMkLst>
            <pc:docMk/>
            <pc:sldMk cId="3770102974" sldId="2147470614"/>
            <ac:graphicFrameMk id="5" creationId="{5532D69F-20D3-37B9-F271-649CAC81B81A}"/>
          </ac:graphicFrameMkLst>
        </pc:graphicFrameChg>
        <pc:graphicFrameChg chg="add mod modGraphic">
          <ac:chgData name="Dwayne Natwick" userId="d11f0013982d5c78" providerId="LiveId" clId="{67AF20B4-6DC7-492D-BA3B-9FCF6F9AD6CF}" dt="2023-09-15T12:25:30.016" v="23" actId="404"/>
          <ac:graphicFrameMkLst>
            <pc:docMk/>
            <pc:sldMk cId="3770102974" sldId="2147470614"/>
            <ac:graphicFrameMk id="7" creationId="{A219546F-E536-A279-B526-1AE693C0FEBC}"/>
          </ac:graphicFrameMkLst>
        </pc:graphicFrameChg>
      </pc:sldChg>
      <pc:sldChg chg="addSp delSp modSp mod">
        <pc:chgData name="Dwayne Natwick" userId="d11f0013982d5c78" providerId="LiveId" clId="{67AF20B4-6DC7-492D-BA3B-9FCF6F9AD6CF}" dt="2023-09-15T12:26:40.164" v="31" actId="207"/>
        <pc:sldMkLst>
          <pc:docMk/>
          <pc:sldMk cId="3776730813" sldId="2147470620"/>
        </pc:sldMkLst>
        <pc:spChg chg="mod">
          <ac:chgData name="Dwayne Natwick" userId="d11f0013982d5c78" providerId="LiveId" clId="{67AF20B4-6DC7-492D-BA3B-9FCF6F9AD6CF}" dt="2023-09-15T12:26:19.350" v="29" actId="26606"/>
          <ac:spMkLst>
            <pc:docMk/>
            <pc:sldMk cId="3776730813" sldId="2147470620"/>
            <ac:spMk id="2" creationId="{B98733DD-1422-5649-B7EC-6C22F68294E7}"/>
          </ac:spMkLst>
        </pc:spChg>
        <pc:spChg chg="del">
          <ac:chgData name="Dwayne Natwick" userId="d11f0013982d5c78" providerId="LiveId" clId="{67AF20B4-6DC7-492D-BA3B-9FCF6F9AD6CF}" dt="2023-09-15T12:26:19.350" v="29" actId="26606"/>
          <ac:spMkLst>
            <pc:docMk/>
            <pc:sldMk cId="3776730813" sldId="2147470620"/>
            <ac:spMk id="3" creationId="{6877C1DD-3080-4AEC-3E55-CF8ED035D114}"/>
          </ac:spMkLst>
        </pc:spChg>
        <pc:graphicFrameChg chg="add mod">
          <ac:chgData name="Dwayne Natwick" userId="d11f0013982d5c78" providerId="LiveId" clId="{67AF20B4-6DC7-492D-BA3B-9FCF6F9AD6CF}" dt="2023-09-15T12:26:40.164" v="31" actId="207"/>
          <ac:graphicFrameMkLst>
            <pc:docMk/>
            <pc:sldMk cId="3776730813" sldId="2147470620"/>
            <ac:graphicFrameMk id="5" creationId="{EAD11503-D133-32E7-E133-88CB07DFE0F3}"/>
          </ac:graphicFrameMkLst>
        </pc:graphicFrameChg>
      </pc:sldChg>
      <pc:sldChg chg="addSp delSp modSp mod modClrScheme chgLayout">
        <pc:chgData name="Dwayne Natwick" userId="d11f0013982d5c78" providerId="LiveId" clId="{67AF20B4-6DC7-492D-BA3B-9FCF6F9AD6CF}" dt="2023-09-15T12:27:22.537" v="41" actId="12"/>
        <pc:sldMkLst>
          <pc:docMk/>
          <pc:sldMk cId="1675599562" sldId="2147470621"/>
        </pc:sldMkLst>
        <pc:spChg chg="mod">
          <ac:chgData name="Dwayne Natwick" userId="d11f0013982d5c78" providerId="LiveId" clId="{67AF20B4-6DC7-492D-BA3B-9FCF6F9AD6CF}" dt="2023-09-15T12:27:16.480" v="40" actId="26606"/>
          <ac:spMkLst>
            <pc:docMk/>
            <pc:sldMk cId="1675599562" sldId="2147470621"/>
            <ac:spMk id="2" creationId="{4F2E3601-0348-0AC8-926D-2963A6EBDE54}"/>
          </ac:spMkLst>
        </pc:spChg>
        <pc:spChg chg="mod">
          <ac:chgData name="Dwayne Natwick" userId="d11f0013982d5c78" providerId="LiveId" clId="{67AF20B4-6DC7-492D-BA3B-9FCF6F9AD6CF}" dt="2023-09-15T12:27:22.537" v="41" actId="12"/>
          <ac:spMkLst>
            <pc:docMk/>
            <pc:sldMk cId="1675599562" sldId="2147470621"/>
            <ac:spMk id="3" creationId="{226A9B3B-731B-E601-049B-025098728B19}"/>
          </ac:spMkLst>
        </pc:spChg>
        <pc:spChg chg="add del mod">
          <ac:chgData name="Dwayne Natwick" userId="d11f0013982d5c78" providerId="LiveId" clId="{67AF20B4-6DC7-492D-BA3B-9FCF6F9AD6CF}" dt="2023-09-15T12:27:08.351" v="33" actId="26606"/>
          <ac:spMkLst>
            <pc:docMk/>
            <pc:sldMk cId="1675599562" sldId="2147470621"/>
            <ac:spMk id="8" creationId="{CBDE5322-35C9-7798-3ACA-6181A40C14D0}"/>
          </ac:spMkLst>
        </pc:spChg>
        <pc:spChg chg="add del mod">
          <ac:chgData name="Dwayne Natwick" userId="d11f0013982d5c78" providerId="LiveId" clId="{67AF20B4-6DC7-492D-BA3B-9FCF6F9AD6CF}" dt="2023-09-15T12:27:11.088" v="35" actId="26606"/>
          <ac:spMkLst>
            <pc:docMk/>
            <pc:sldMk cId="1675599562" sldId="2147470621"/>
            <ac:spMk id="10" creationId="{795D7EBF-A03F-22DA-4479-3CEB4DE78634}"/>
          </ac:spMkLst>
        </pc:spChg>
      </pc:sldChg>
      <pc:sldChg chg="delSp modSp mod">
        <pc:chgData name="Dwayne Natwick" userId="d11f0013982d5c78" providerId="LiveId" clId="{67AF20B4-6DC7-492D-BA3B-9FCF6F9AD6CF}" dt="2023-09-15T12:32:14.657" v="145"/>
        <pc:sldMkLst>
          <pc:docMk/>
          <pc:sldMk cId="4211696148" sldId="2147470622"/>
        </pc:sldMkLst>
        <pc:spChg chg="mod">
          <ac:chgData name="Dwayne Natwick" userId="d11f0013982d5c78" providerId="LiveId" clId="{67AF20B4-6DC7-492D-BA3B-9FCF6F9AD6CF}" dt="2023-09-15T12:32:12.113" v="143" actId="20577"/>
          <ac:spMkLst>
            <pc:docMk/>
            <pc:sldMk cId="4211696148" sldId="2147470622"/>
            <ac:spMk id="3" creationId="{8EBEE321-11FC-1E70-73C4-F9D3512763DC}"/>
          </ac:spMkLst>
        </pc:spChg>
        <pc:spChg chg="del mod">
          <ac:chgData name="Dwayne Natwick" userId="d11f0013982d5c78" providerId="LiveId" clId="{67AF20B4-6DC7-492D-BA3B-9FCF6F9AD6CF}" dt="2023-09-15T12:32:14.657" v="145"/>
          <ac:spMkLst>
            <pc:docMk/>
            <pc:sldMk cId="4211696148" sldId="2147470622"/>
            <ac:spMk id="4" creationId="{894C4432-C891-B2F2-36B5-DC9ABE788A25}"/>
          </ac:spMkLst>
        </pc:spChg>
      </pc:sldChg>
    </pc:docChg>
  </pc:docChgLst>
  <pc:docChgLst>
    <pc:chgData name="Dwayne Natwick" userId="d11f0013982d5c78" providerId="Windows Live" clId="Web-{71AAC7CB-8687-4658-9B09-DDB30BE95366}"/>
    <pc:docChg chg="delSld modSld sldOrd">
      <pc:chgData name="Dwayne Natwick" userId="d11f0013982d5c78" providerId="Windows Live" clId="Web-{71AAC7CB-8687-4658-9B09-DDB30BE95366}" dt="2023-09-15T13:05:49.642" v="212" actId="20577"/>
      <pc:docMkLst>
        <pc:docMk/>
      </pc:docMkLst>
      <pc:sldChg chg="del">
        <pc:chgData name="Dwayne Natwick" userId="d11f0013982d5c78" providerId="Windows Live" clId="Web-{71AAC7CB-8687-4658-9B09-DDB30BE95366}" dt="2023-09-15T12:44:28.257" v="0"/>
        <pc:sldMkLst>
          <pc:docMk/>
          <pc:sldMk cId="4270848246" sldId="2147470560"/>
        </pc:sldMkLst>
      </pc:sldChg>
      <pc:sldChg chg="del">
        <pc:chgData name="Dwayne Natwick" userId="d11f0013982d5c78" providerId="Windows Live" clId="Web-{71AAC7CB-8687-4658-9B09-DDB30BE95366}" dt="2023-09-15T12:44:28.350" v="36"/>
        <pc:sldMkLst>
          <pc:docMk/>
          <pc:sldMk cId="3644458694" sldId="2147470564"/>
        </pc:sldMkLst>
      </pc:sldChg>
      <pc:sldChg chg="del">
        <pc:chgData name="Dwayne Natwick" userId="d11f0013982d5c78" providerId="Windows Live" clId="Web-{71AAC7CB-8687-4658-9B09-DDB30BE95366}" dt="2023-09-15T12:44:37.835" v="38"/>
        <pc:sldMkLst>
          <pc:docMk/>
          <pc:sldMk cId="2739312586" sldId="2147470565"/>
        </pc:sldMkLst>
      </pc:sldChg>
      <pc:sldChg chg="ord">
        <pc:chgData name="Dwayne Natwick" userId="d11f0013982d5c78" providerId="Windows Live" clId="Web-{71AAC7CB-8687-4658-9B09-DDB30BE95366}" dt="2023-09-15T12:44:35.898" v="37"/>
        <pc:sldMkLst>
          <pc:docMk/>
          <pc:sldMk cId="2251723249" sldId="2147470571"/>
        </pc:sldMkLst>
      </pc:sldChg>
      <pc:sldChg chg="del">
        <pc:chgData name="Dwayne Natwick" userId="d11f0013982d5c78" providerId="Windows Live" clId="Web-{71AAC7CB-8687-4658-9B09-DDB30BE95366}" dt="2023-09-15T12:44:28.335" v="34"/>
        <pc:sldMkLst>
          <pc:docMk/>
          <pc:sldMk cId="948136224" sldId="2147470573"/>
        </pc:sldMkLst>
      </pc:sldChg>
      <pc:sldChg chg="del">
        <pc:chgData name="Dwayne Natwick" userId="d11f0013982d5c78" providerId="Windows Live" clId="Web-{71AAC7CB-8687-4658-9B09-DDB30BE95366}" dt="2023-09-15T12:44:28.304" v="24"/>
        <pc:sldMkLst>
          <pc:docMk/>
          <pc:sldMk cId="2030514790" sldId="2147470574"/>
        </pc:sldMkLst>
      </pc:sldChg>
      <pc:sldChg chg="del">
        <pc:chgData name="Dwayne Natwick" userId="d11f0013982d5c78" providerId="Windows Live" clId="Web-{71AAC7CB-8687-4658-9B09-DDB30BE95366}" dt="2023-09-15T12:44:28.304" v="22"/>
        <pc:sldMkLst>
          <pc:docMk/>
          <pc:sldMk cId="3649936595" sldId="2147470575"/>
        </pc:sldMkLst>
      </pc:sldChg>
      <pc:sldChg chg="del">
        <pc:chgData name="Dwayne Natwick" userId="d11f0013982d5c78" providerId="Windows Live" clId="Web-{71AAC7CB-8687-4658-9B09-DDB30BE95366}" dt="2023-09-15T12:44:28.272" v="13"/>
        <pc:sldMkLst>
          <pc:docMk/>
          <pc:sldMk cId="511214272" sldId="2147470576"/>
        </pc:sldMkLst>
      </pc:sldChg>
      <pc:sldChg chg="del">
        <pc:chgData name="Dwayne Natwick" userId="d11f0013982d5c78" providerId="Windows Live" clId="Web-{71AAC7CB-8687-4658-9B09-DDB30BE95366}" dt="2023-09-15T12:44:28.257" v="9"/>
        <pc:sldMkLst>
          <pc:docMk/>
          <pc:sldMk cId="4196600117" sldId="2147470577"/>
        </pc:sldMkLst>
      </pc:sldChg>
      <pc:sldChg chg="del">
        <pc:chgData name="Dwayne Natwick" userId="d11f0013982d5c78" providerId="Windows Live" clId="Web-{71AAC7CB-8687-4658-9B09-DDB30BE95366}" dt="2023-09-15T12:44:28.257" v="8"/>
        <pc:sldMkLst>
          <pc:docMk/>
          <pc:sldMk cId="1593797140" sldId="2147470578"/>
        </pc:sldMkLst>
      </pc:sldChg>
      <pc:sldChg chg="del">
        <pc:chgData name="Dwayne Natwick" userId="d11f0013982d5c78" providerId="Windows Live" clId="Web-{71AAC7CB-8687-4658-9B09-DDB30BE95366}" dt="2023-09-15T12:44:28.272" v="11"/>
        <pc:sldMkLst>
          <pc:docMk/>
          <pc:sldMk cId="90178162" sldId="2147470579"/>
        </pc:sldMkLst>
      </pc:sldChg>
      <pc:sldChg chg="del">
        <pc:chgData name="Dwayne Natwick" userId="d11f0013982d5c78" providerId="Windows Live" clId="Web-{71AAC7CB-8687-4658-9B09-DDB30BE95366}" dt="2023-09-15T12:44:28.272" v="10"/>
        <pc:sldMkLst>
          <pc:docMk/>
          <pc:sldMk cId="1437570267" sldId="2147470580"/>
        </pc:sldMkLst>
      </pc:sldChg>
      <pc:sldChg chg="del">
        <pc:chgData name="Dwayne Natwick" userId="d11f0013982d5c78" providerId="Windows Live" clId="Web-{71AAC7CB-8687-4658-9B09-DDB30BE95366}" dt="2023-09-15T12:44:28.257" v="7"/>
        <pc:sldMkLst>
          <pc:docMk/>
          <pc:sldMk cId="1083283128" sldId="2147470581"/>
        </pc:sldMkLst>
      </pc:sldChg>
      <pc:sldChg chg="del">
        <pc:chgData name="Dwayne Natwick" userId="d11f0013982d5c78" providerId="Windows Live" clId="Web-{71AAC7CB-8687-4658-9B09-DDB30BE95366}" dt="2023-09-15T12:44:28.257" v="4"/>
        <pc:sldMkLst>
          <pc:docMk/>
          <pc:sldMk cId="3763189814" sldId="2147470582"/>
        </pc:sldMkLst>
      </pc:sldChg>
      <pc:sldChg chg="del">
        <pc:chgData name="Dwayne Natwick" userId="d11f0013982d5c78" providerId="Windows Live" clId="Web-{71AAC7CB-8687-4658-9B09-DDB30BE95366}" dt="2023-09-15T12:44:28.335" v="33"/>
        <pc:sldMkLst>
          <pc:docMk/>
          <pc:sldMk cId="3386646133" sldId="2147470584"/>
        </pc:sldMkLst>
      </pc:sldChg>
      <pc:sldChg chg="del">
        <pc:chgData name="Dwayne Natwick" userId="d11f0013982d5c78" providerId="Windows Live" clId="Web-{71AAC7CB-8687-4658-9B09-DDB30BE95366}" dt="2023-09-15T12:44:28.335" v="32"/>
        <pc:sldMkLst>
          <pc:docMk/>
          <pc:sldMk cId="3650723693" sldId="2147470585"/>
        </pc:sldMkLst>
      </pc:sldChg>
      <pc:sldChg chg="del">
        <pc:chgData name="Dwayne Natwick" userId="d11f0013982d5c78" providerId="Windows Live" clId="Web-{71AAC7CB-8687-4658-9B09-DDB30BE95366}" dt="2023-09-15T12:44:28.335" v="31"/>
        <pc:sldMkLst>
          <pc:docMk/>
          <pc:sldMk cId="694622249" sldId="2147470586"/>
        </pc:sldMkLst>
      </pc:sldChg>
      <pc:sldChg chg="del">
        <pc:chgData name="Dwayne Natwick" userId="d11f0013982d5c78" providerId="Windows Live" clId="Web-{71AAC7CB-8687-4658-9B09-DDB30BE95366}" dt="2023-09-15T12:44:28.335" v="30"/>
        <pc:sldMkLst>
          <pc:docMk/>
          <pc:sldMk cId="347590927" sldId="2147470587"/>
        </pc:sldMkLst>
      </pc:sldChg>
      <pc:sldChg chg="del">
        <pc:chgData name="Dwayne Natwick" userId="d11f0013982d5c78" providerId="Windows Live" clId="Web-{71AAC7CB-8687-4658-9B09-DDB30BE95366}" dt="2023-09-15T12:44:28.319" v="28"/>
        <pc:sldMkLst>
          <pc:docMk/>
          <pc:sldMk cId="2214484181" sldId="2147470588"/>
        </pc:sldMkLst>
      </pc:sldChg>
      <pc:sldChg chg="del">
        <pc:chgData name="Dwayne Natwick" userId="d11f0013982d5c78" providerId="Windows Live" clId="Web-{71AAC7CB-8687-4658-9B09-DDB30BE95366}" dt="2023-09-15T12:44:28.319" v="29"/>
        <pc:sldMkLst>
          <pc:docMk/>
          <pc:sldMk cId="3716502182" sldId="2147470589"/>
        </pc:sldMkLst>
      </pc:sldChg>
      <pc:sldChg chg="del">
        <pc:chgData name="Dwayne Natwick" userId="d11f0013982d5c78" providerId="Windows Live" clId="Web-{71AAC7CB-8687-4658-9B09-DDB30BE95366}" dt="2023-09-15T12:44:28.319" v="27"/>
        <pc:sldMkLst>
          <pc:docMk/>
          <pc:sldMk cId="836223342" sldId="2147470590"/>
        </pc:sldMkLst>
      </pc:sldChg>
      <pc:sldChg chg="del">
        <pc:chgData name="Dwayne Natwick" userId="d11f0013982d5c78" providerId="Windows Live" clId="Web-{71AAC7CB-8687-4658-9B09-DDB30BE95366}" dt="2023-09-15T12:44:28.304" v="23"/>
        <pc:sldMkLst>
          <pc:docMk/>
          <pc:sldMk cId="1568180102" sldId="2147470591"/>
        </pc:sldMkLst>
      </pc:sldChg>
      <pc:sldChg chg="del">
        <pc:chgData name="Dwayne Natwick" userId="d11f0013982d5c78" providerId="Windows Live" clId="Web-{71AAC7CB-8687-4658-9B09-DDB30BE95366}" dt="2023-09-15T12:44:28.304" v="25"/>
        <pc:sldMkLst>
          <pc:docMk/>
          <pc:sldMk cId="823722957" sldId="2147470592"/>
        </pc:sldMkLst>
      </pc:sldChg>
      <pc:sldChg chg="del">
        <pc:chgData name="Dwayne Natwick" userId="d11f0013982d5c78" providerId="Windows Live" clId="Web-{71AAC7CB-8687-4658-9B09-DDB30BE95366}" dt="2023-09-15T12:44:28.335" v="35"/>
        <pc:sldMkLst>
          <pc:docMk/>
          <pc:sldMk cId="3948585883" sldId="2147470593"/>
        </pc:sldMkLst>
      </pc:sldChg>
      <pc:sldChg chg="del">
        <pc:chgData name="Dwayne Natwick" userId="d11f0013982d5c78" providerId="Windows Live" clId="Web-{71AAC7CB-8687-4658-9B09-DDB30BE95366}" dt="2023-09-15T12:44:28.304" v="21"/>
        <pc:sldMkLst>
          <pc:docMk/>
          <pc:sldMk cId="449857184" sldId="2147470594"/>
        </pc:sldMkLst>
      </pc:sldChg>
      <pc:sldChg chg="del">
        <pc:chgData name="Dwayne Natwick" userId="d11f0013982d5c78" providerId="Windows Live" clId="Web-{71AAC7CB-8687-4658-9B09-DDB30BE95366}" dt="2023-09-15T12:44:28.288" v="17"/>
        <pc:sldMkLst>
          <pc:docMk/>
          <pc:sldMk cId="3381500547" sldId="2147470595"/>
        </pc:sldMkLst>
      </pc:sldChg>
      <pc:sldChg chg="del">
        <pc:chgData name="Dwayne Natwick" userId="d11f0013982d5c78" providerId="Windows Live" clId="Web-{71AAC7CB-8687-4658-9B09-DDB30BE95366}" dt="2023-09-15T12:44:28.304" v="20"/>
        <pc:sldMkLst>
          <pc:docMk/>
          <pc:sldMk cId="1619709891" sldId="2147470596"/>
        </pc:sldMkLst>
      </pc:sldChg>
      <pc:sldChg chg="del">
        <pc:chgData name="Dwayne Natwick" userId="d11f0013982d5c78" providerId="Windows Live" clId="Web-{71AAC7CB-8687-4658-9B09-DDB30BE95366}" dt="2023-09-15T12:44:28.304" v="19"/>
        <pc:sldMkLst>
          <pc:docMk/>
          <pc:sldMk cId="3056138002" sldId="2147470597"/>
        </pc:sldMkLst>
      </pc:sldChg>
      <pc:sldChg chg="del">
        <pc:chgData name="Dwayne Natwick" userId="d11f0013982d5c78" providerId="Windows Live" clId="Web-{71AAC7CB-8687-4658-9B09-DDB30BE95366}" dt="2023-09-15T12:44:28.288" v="18"/>
        <pc:sldMkLst>
          <pc:docMk/>
          <pc:sldMk cId="1103145275" sldId="2147470598"/>
        </pc:sldMkLst>
      </pc:sldChg>
      <pc:sldChg chg="del">
        <pc:chgData name="Dwayne Natwick" userId="d11f0013982d5c78" providerId="Windows Live" clId="Web-{71AAC7CB-8687-4658-9B09-DDB30BE95366}" dt="2023-09-15T12:44:28.288" v="15"/>
        <pc:sldMkLst>
          <pc:docMk/>
          <pc:sldMk cId="2015539757" sldId="2147470599"/>
        </pc:sldMkLst>
      </pc:sldChg>
      <pc:sldChg chg="del">
        <pc:chgData name="Dwayne Natwick" userId="d11f0013982d5c78" providerId="Windows Live" clId="Web-{71AAC7CB-8687-4658-9B09-DDB30BE95366}" dt="2023-09-15T12:44:28.288" v="16"/>
        <pc:sldMkLst>
          <pc:docMk/>
          <pc:sldMk cId="917890403" sldId="2147470600"/>
        </pc:sldMkLst>
      </pc:sldChg>
      <pc:sldChg chg="del">
        <pc:chgData name="Dwayne Natwick" userId="d11f0013982d5c78" providerId="Windows Live" clId="Web-{71AAC7CB-8687-4658-9B09-DDB30BE95366}" dt="2023-09-15T12:44:28.288" v="14"/>
        <pc:sldMkLst>
          <pc:docMk/>
          <pc:sldMk cId="2983617397" sldId="2147470601"/>
        </pc:sldMkLst>
      </pc:sldChg>
      <pc:sldChg chg="del">
        <pc:chgData name="Dwayne Natwick" userId="d11f0013982d5c78" providerId="Windows Live" clId="Web-{71AAC7CB-8687-4658-9B09-DDB30BE95366}" dt="2023-09-15T12:44:28.272" v="12"/>
        <pc:sldMkLst>
          <pc:docMk/>
          <pc:sldMk cId="1171446039" sldId="2147470602"/>
        </pc:sldMkLst>
      </pc:sldChg>
      <pc:sldChg chg="del">
        <pc:chgData name="Dwayne Natwick" userId="d11f0013982d5c78" providerId="Windows Live" clId="Web-{71AAC7CB-8687-4658-9B09-DDB30BE95366}" dt="2023-09-15T12:44:28.257" v="5"/>
        <pc:sldMkLst>
          <pc:docMk/>
          <pc:sldMk cId="818381816" sldId="2147470603"/>
        </pc:sldMkLst>
      </pc:sldChg>
      <pc:sldChg chg="del">
        <pc:chgData name="Dwayne Natwick" userId="d11f0013982d5c78" providerId="Windows Live" clId="Web-{71AAC7CB-8687-4658-9B09-DDB30BE95366}" dt="2023-09-15T12:44:28.257" v="1"/>
        <pc:sldMkLst>
          <pc:docMk/>
          <pc:sldMk cId="1742974702" sldId="2147470604"/>
        </pc:sldMkLst>
      </pc:sldChg>
      <pc:sldChg chg="del">
        <pc:chgData name="Dwayne Natwick" userId="d11f0013982d5c78" providerId="Windows Live" clId="Web-{71AAC7CB-8687-4658-9B09-DDB30BE95366}" dt="2023-09-15T12:44:28.257" v="2"/>
        <pc:sldMkLst>
          <pc:docMk/>
          <pc:sldMk cId="1637472956" sldId="2147470605"/>
        </pc:sldMkLst>
      </pc:sldChg>
      <pc:sldChg chg="del">
        <pc:chgData name="Dwayne Natwick" userId="d11f0013982d5c78" providerId="Windows Live" clId="Web-{71AAC7CB-8687-4658-9B09-DDB30BE95366}" dt="2023-09-15T12:44:28.257" v="3"/>
        <pc:sldMkLst>
          <pc:docMk/>
          <pc:sldMk cId="3543320482" sldId="2147470606"/>
        </pc:sldMkLst>
      </pc:sldChg>
      <pc:sldChg chg="modSp">
        <pc:chgData name="Dwayne Natwick" userId="d11f0013982d5c78" providerId="Windows Live" clId="Web-{71AAC7CB-8687-4658-9B09-DDB30BE95366}" dt="2023-09-15T12:54:46.410" v="175" actId="20577"/>
        <pc:sldMkLst>
          <pc:docMk/>
          <pc:sldMk cId="2524577050" sldId="2147470612"/>
        </pc:sldMkLst>
        <pc:spChg chg="mod">
          <ac:chgData name="Dwayne Natwick" userId="d11f0013982d5c78" providerId="Windows Live" clId="Web-{71AAC7CB-8687-4658-9B09-DDB30BE95366}" dt="2023-09-15T12:54:46.410" v="175" actId="20577"/>
          <ac:spMkLst>
            <pc:docMk/>
            <pc:sldMk cId="2524577050" sldId="2147470612"/>
            <ac:spMk id="3" creationId="{675F152E-D720-B366-A514-0FB945F73594}"/>
          </ac:spMkLst>
        </pc:spChg>
      </pc:sldChg>
      <pc:sldChg chg="del">
        <pc:chgData name="Dwayne Natwick" userId="d11f0013982d5c78" providerId="Windows Live" clId="Web-{71AAC7CB-8687-4658-9B09-DDB30BE95366}" dt="2023-09-15T12:44:28.257" v="6"/>
        <pc:sldMkLst>
          <pc:docMk/>
          <pc:sldMk cId="3921617707" sldId="2147470616"/>
        </pc:sldMkLst>
      </pc:sldChg>
      <pc:sldChg chg="del">
        <pc:chgData name="Dwayne Natwick" userId="d11f0013982d5c78" providerId="Windows Live" clId="Web-{71AAC7CB-8687-4658-9B09-DDB30BE95366}" dt="2023-09-15T12:44:28.304" v="26"/>
        <pc:sldMkLst>
          <pc:docMk/>
          <pc:sldMk cId="1753990868" sldId="2147470617"/>
        </pc:sldMkLst>
      </pc:sldChg>
      <pc:sldChg chg="modSp">
        <pc:chgData name="Dwayne Natwick" userId="d11f0013982d5c78" providerId="Windows Live" clId="Web-{71AAC7CB-8687-4658-9B09-DDB30BE95366}" dt="2023-09-15T13:05:49.642" v="212" actId="20577"/>
        <pc:sldMkLst>
          <pc:docMk/>
          <pc:sldMk cId="4211696148" sldId="2147470622"/>
        </pc:sldMkLst>
        <pc:spChg chg="mod">
          <ac:chgData name="Dwayne Natwick" userId="d11f0013982d5c78" providerId="Windows Live" clId="Web-{71AAC7CB-8687-4658-9B09-DDB30BE95366}" dt="2023-09-15T13:05:49.642" v="212" actId="20577"/>
          <ac:spMkLst>
            <pc:docMk/>
            <pc:sldMk cId="4211696148" sldId="2147470622"/>
            <ac:spMk id="3" creationId="{8EBEE321-11FC-1E70-73C4-F9D3512763DC}"/>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ata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ata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1.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rawing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59EC08-9332-45E0-9AE7-8AF5483D7A4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711003B-71CF-403B-A4E2-C25AAE92A270}">
      <dgm:prSet/>
      <dgm:spPr>
        <a:solidFill>
          <a:schemeClr val="accent2"/>
        </a:solidFill>
      </dgm:spPr>
      <dgm:t>
        <a:bodyPr/>
        <a:lstStyle/>
        <a:p>
          <a:r>
            <a:rPr lang="en-US" baseline="0"/>
            <a:t>Two steps for purchase private offers:</a:t>
          </a:r>
          <a:endParaRPr lang="en-US"/>
        </a:p>
      </dgm:t>
    </dgm:pt>
    <dgm:pt modelId="{DA80C0D7-580B-4DFA-BCA7-D29323DDFE2A}" type="parTrans" cxnId="{31DE63BF-58B6-473E-946E-0DFEC12C668A}">
      <dgm:prSet/>
      <dgm:spPr/>
      <dgm:t>
        <a:bodyPr/>
        <a:lstStyle/>
        <a:p>
          <a:endParaRPr lang="en-US"/>
        </a:p>
      </dgm:t>
    </dgm:pt>
    <dgm:pt modelId="{87DC0BCB-FF55-4C8C-A7F0-40E0A7DB3223}" type="sibTrans" cxnId="{31DE63BF-58B6-473E-946E-0DFEC12C668A}">
      <dgm:prSet/>
      <dgm:spPr/>
      <dgm:t>
        <a:bodyPr/>
        <a:lstStyle/>
        <a:p>
          <a:endParaRPr lang="en-US"/>
        </a:p>
      </dgm:t>
    </dgm:pt>
    <dgm:pt modelId="{92A19483-07B8-4E84-8FE1-2F9982D29163}">
      <dgm:prSet/>
      <dgm:spPr/>
      <dgm:t>
        <a:bodyPr/>
        <a:lstStyle/>
        <a:p>
          <a:r>
            <a:rPr lang="en-US" baseline="0"/>
            <a:t>Accept</a:t>
          </a:r>
          <a:endParaRPr lang="en-US"/>
        </a:p>
      </dgm:t>
    </dgm:pt>
    <dgm:pt modelId="{AD6E27F7-6A98-4CFF-8ACD-8ABCA2F50138}" type="parTrans" cxnId="{1ECC7BDB-F370-491C-8A49-EBE565311295}">
      <dgm:prSet/>
      <dgm:spPr/>
      <dgm:t>
        <a:bodyPr/>
        <a:lstStyle/>
        <a:p>
          <a:endParaRPr lang="en-US"/>
        </a:p>
      </dgm:t>
    </dgm:pt>
    <dgm:pt modelId="{7C83970B-35A0-486C-A7BC-BDB3137E852C}" type="sibTrans" cxnId="{1ECC7BDB-F370-491C-8A49-EBE565311295}">
      <dgm:prSet/>
      <dgm:spPr/>
      <dgm:t>
        <a:bodyPr/>
        <a:lstStyle/>
        <a:p>
          <a:endParaRPr lang="en-US"/>
        </a:p>
      </dgm:t>
    </dgm:pt>
    <dgm:pt modelId="{C6AD797C-8527-4B01-ADD6-8E1C6C87100F}">
      <dgm:prSet/>
      <dgm:spPr/>
      <dgm:t>
        <a:bodyPr/>
        <a:lstStyle/>
        <a:p>
          <a:r>
            <a:rPr lang="en-US" baseline="0"/>
            <a:t>Purchase</a:t>
          </a:r>
          <a:endParaRPr lang="en-US"/>
        </a:p>
      </dgm:t>
    </dgm:pt>
    <dgm:pt modelId="{19FF4E1D-E7D1-4D48-8089-43BA07FF36EB}" type="parTrans" cxnId="{D9A3DEAC-A3C8-4023-AA69-DC2668DED2FE}">
      <dgm:prSet/>
      <dgm:spPr/>
      <dgm:t>
        <a:bodyPr/>
        <a:lstStyle/>
        <a:p>
          <a:endParaRPr lang="en-US"/>
        </a:p>
      </dgm:t>
    </dgm:pt>
    <dgm:pt modelId="{E7144D4E-6B98-495B-B034-1B8C699EC0EA}" type="sibTrans" cxnId="{D9A3DEAC-A3C8-4023-AA69-DC2668DED2FE}">
      <dgm:prSet/>
      <dgm:spPr/>
      <dgm:t>
        <a:bodyPr/>
        <a:lstStyle/>
        <a:p>
          <a:endParaRPr lang="en-US"/>
        </a:p>
      </dgm:t>
    </dgm:pt>
    <dgm:pt modelId="{501618A0-93EE-4C28-81D7-D794D90785DD}">
      <dgm:prSet/>
      <dgm:spPr>
        <a:solidFill>
          <a:schemeClr val="accent2"/>
        </a:solidFill>
      </dgm:spPr>
      <dgm:t>
        <a:bodyPr/>
        <a:lstStyle/>
        <a:p>
          <a:r>
            <a:rPr lang="en-US" baseline="0"/>
            <a:t>SaaS subscriptions</a:t>
          </a:r>
          <a:endParaRPr lang="en-US"/>
        </a:p>
      </dgm:t>
    </dgm:pt>
    <dgm:pt modelId="{32ED9409-A720-44E2-8064-D846BB76657A}" type="parTrans" cxnId="{9AA62993-54EA-4B95-8A3B-E8C023089F61}">
      <dgm:prSet/>
      <dgm:spPr/>
      <dgm:t>
        <a:bodyPr/>
        <a:lstStyle/>
        <a:p>
          <a:endParaRPr lang="en-US"/>
        </a:p>
      </dgm:t>
    </dgm:pt>
    <dgm:pt modelId="{95ADA168-B0D1-4E95-A3DA-D575FDE947AD}" type="sibTrans" cxnId="{9AA62993-54EA-4B95-8A3B-E8C023089F61}">
      <dgm:prSet/>
      <dgm:spPr/>
      <dgm:t>
        <a:bodyPr/>
        <a:lstStyle/>
        <a:p>
          <a:endParaRPr lang="en-US"/>
        </a:p>
      </dgm:t>
    </dgm:pt>
    <dgm:pt modelId="{C89B7F27-0175-4E73-A877-53EC21F81594}">
      <dgm:prSet/>
      <dgm:spPr/>
      <dgm:t>
        <a:bodyPr/>
        <a:lstStyle/>
        <a:p>
          <a:r>
            <a:rPr lang="en-US" baseline="0"/>
            <a:t>Completed in publisher's portal</a:t>
          </a:r>
          <a:endParaRPr lang="en-US"/>
        </a:p>
      </dgm:t>
    </dgm:pt>
    <dgm:pt modelId="{283FE0BF-FC54-4EC7-BD26-E0BD9962243F}" type="parTrans" cxnId="{19CAE3A6-DDC1-4BE9-86AA-7EAFEA44260A}">
      <dgm:prSet/>
      <dgm:spPr/>
      <dgm:t>
        <a:bodyPr/>
        <a:lstStyle/>
        <a:p>
          <a:endParaRPr lang="en-US"/>
        </a:p>
      </dgm:t>
    </dgm:pt>
    <dgm:pt modelId="{E516E0EC-6D76-4054-B562-0293C50AE49A}" type="sibTrans" cxnId="{19CAE3A6-DDC1-4BE9-86AA-7EAFEA44260A}">
      <dgm:prSet/>
      <dgm:spPr/>
      <dgm:t>
        <a:bodyPr/>
        <a:lstStyle/>
        <a:p>
          <a:endParaRPr lang="en-US"/>
        </a:p>
      </dgm:t>
    </dgm:pt>
    <dgm:pt modelId="{62FBD0AC-EC5A-44DE-8A2E-2C4DC521129F}">
      <dgm:prSet/>
      <dgm:spPr/>
      <dgm:t>
        <a:bodyPr/>
        <a:lstStyle/>
        <a:p>
          <a:r>
            <a:rPr lang="en-US" baseline="0"/>
            <a:t>Requires Entra ID (Azure Active Directory) permissions</a:t>
          </a:r>
          <a:endParaRPr lang="en-US"/>
        </a:p>
      </dgm:t>
    </dgm:pt>
    <dgm:pt modelId="{EF8AD997-A4A1-407C-B3CB-6EA91BB25FC7}" type="parTrans" cxnId="{11986664-5DA0-4757-8ED1-DA23DFDB1EC4}">
      <dgm:prSet/>
      <dgm:spPr/>
      <dgm:t>
        <a:bodyPr/>
        <a:lstStyle/>
        <a:p>
          <a:endParaRPr lang="en-US"/>
        </a:p>
      </dgm:t>
    </dgm:pt>
    <dgm:pt modelId="{F959C7C3-34B8-4D79-9C0F-0C8D7E22C6E9}" type="sibTrans" cxnId="{11986664-5DA0-4757-8ED1-DA23DFDB1EC4}">
      <dgm:prSet/>
      <dgm:spPr/>
      <dgm:t>
        <a:bodyPr/>
        <a:lstStyle/>
        <a:p>
          <a:endParaRPr lang="en-US"/>
        </a:p>
      </dgm:t>
    </dgm:pt>
    <dgm:pt modelId="{DA3CEB1E-FB78-4DFC-8727-7ECBD3A5E0D2}">
      <dgm:prSet/>
      <dgm:spPr>
        <a:solidFill>
          <a:schemeClr val="accent2"/>
        </a:solidFill>
      </dgm:spPr>
      <dgm:t>
        <a:bodyPr/>
        <a:lstStyle/>
        <a:p>
          <a:r>
            <a:rPr lang="en-US" baseline="0"/>
            <a:t>Finding permissions</a:t>
          </a:r>
          <a:endParaRPr lang="en-US"/>
        </a:p>
      </dgm:t>
    </dgm:pt>
    <dgm:pt modelId="{4393A8AE-C05E-455B-A475-2372DE8A2466}" type="parTrans" cxnId="{26423390-038D-43A2-977D-C8FEF98DDF29}">
      <dgm:prSet/>
      <dgm:spPr/>
      <dgm:t>
        <a:bodyPr/>
        <a:lstStyle/>
        <a:p>
          <a:endParaRPr lang="en-US"/>
        </a:p>
      </dgm:t>
    </dgm:pt>
    <dgm:pt modelId="{5095AF66-B0A2-499C-A4AF-6D353B13B90E}" type="sibTrans" cxnId="{26423390-038D-43A2-977D-C8FEF98DDF29}">
      <dgm:prSet/>
      <dgm:spPr/>
      <dgm:t>
        <a:bodyPr/>
        <a:lstStyle/>
        <a:p>
          <a:endParaRPr lang="en-US"/>
        </a:p>
      </dgm:t>
    </dgm:pt>
    <dgm:pt modelId="{54F52F22-16EC-437C-89EB-620112022E96}">
      <dgm:prSet/>
      <dgm:spPr/>
      <dgm:t>
        <a:bodyPr/>
        <a:lstStyle/>
        <a:p>
          <a:r>
            <a:rPr lang="en-US" baseline="0"/>
            <a:t>Marketplace private offers precheck tool (</a:t>
          </a:r>
          <a:r>
            <a:rPr lang="en-US" baseline="0">
              <a:hlinkClick xmlns:r="http://schemas.openxmlformats.org/officeDocument/2006/relationships" r:id="rId1"/>
            </a:rPr>
            <a:t>https://learn.microsoft.com/en-us/marketplace/private-offers-pre-check</a:t>
          </a:r>
          <a:r>
            <a:rPr lang="en-US" baseline="0"/>
            <a:t>)</a:t>
          </a:r>
          <a:endParaRPr lang="en-US"/>
        </a:p>
      </dgm:t>
    </dgm:pt>
    <dgm:pt modelId="{2B2979BB-82D3-4319-BD75-AA0F25DDB37B}" type="parTrans" cxnId="{5CEF270F-9DD6-468A-AB7E-DE583EF7D280}">
      <dgm:prSet/>
      <dgm:spPr/>
      <dgm:t>
        <a:bodyPr/>
        <a:lstStyle/>
        <a:p>
          <a:endParaRPr lang="en-US"/>
        </a:p>
      </dgm:t>
    </dgm:pt>
    <dgm:pt modelId="{ECBBEE0F-17E3-485B-B744-FBF45AF194BB}" type="sibTrans" cxnId="{5CEF270F-9DD6-468A-AB7E-DE583EF7D280}">
      <dgm:prSet/>
      <dgm:spPr/>
      <dgm:t>
        <a:bodyPr/>
        <a:lstStyle/>
        <a:p>
          <a:endParaRPr lang="en-US"/>
        </a:p>
      </dgm:t>
    </dgm:pt>
    <dgm:pt modelId="{45F65CBE-3E31-4E17-B2DB-2E4EAF48E52D}">
      <dgm:prSet/>
      <dgm:spPr/>
      <dgm:t>
        <a:bodyPr/>
        <a:lstStyle/>
        <a:p>
          <a:r>
            <a:rPr lang="en-US" baseline="0"/>
            <a:t>Private marketplace – product will be in the allow list</a:t>
          </a:r>
          <a:endParaRPr lang="en-US"/>
        </a:p>
      </dgm:t>
    </dgm:pt>
    <dgm:pt modelId="{0CE179BD-59F8-4E6D-B073-A6F3FAFC92AF}" type="parTrans" cxnId="{C2977DED-4A19-4621-B98D-16260CF10A97}">
      <dgm:prSet/>
      <dgm:spPr/>
      <dgm:t>
        <a:bodyPr/>
        <a:lstStyle/>
        <a:p>
          <a:endParaRPr lang="en-US"/>
        </a:p>
      </dgm:t>
    </dgm:pt>
    <dgm:pt modelId="{78FE51E0-0083-4660-BA98-976BE0DC2428}" type="sibTrans" cxnId="{C2977DED-4A19-4621-B98D-16260CF10A97}">
      <dgm:prSet/>
      <dgm:spPr/>
      <dgm:t>
        <a:bodyPr/>
        <a:lstStyle/>
        <a:p>
          <a:endParaRPr lang="en-US"/>
        </a:p>
      </dgm:t>
    </dgm:pt>
    <dgm:pt modelId="{58250BBC-F260-4073-B4E4-A29438F4C58E}">
      <dgm:prSet/>
      <dgm:spPr/>
      <dgm:t>
        <a:bodyPr/>
        <a:lstStyle/>
        <a:p>
          <a:r>
            <a:rPr lang="en-US" baseline="0"/>
            <a:t>Azure policies – used to block or enforce tagging when resources are created</a:t>
          </a:r>
          <a:endParaRPr lang="en-US"/>
        </a:p>
      </dgm:t>
    </dgm:pt>
    <dgm:pt modelId="{E934EFD9-9714-400E-A76B-B3B07E0BBBFB}" type="parTrans" cxnId="{0483B198-8035-401F-B986-74A5142B3FCA}">
      <dgm:prSet/>
      <dgm:spPr/>
      <dgm:t>
        <a:bodyPr/>
        <a:lstStyle/>
        <a:p>
          <a:endParaRPr lang="en-US"/>
        </a:p>
      </dgm:t>
    </dgm:pt>
    <dgm:pt modelId="{A931FBA9-C992-4BC1-A512-2B75871CDF61}" type="sibTrans" cxnId="{0483B198-8035-401F-B986-74A5142B3FCA}">
      <dgm:prSet/>
      <dgm:spPr/>
      <dgm:t>
        <a:bodyPr/>
        <a:lstStyle/>
        <a:p>
          <a:endParaRPr lang="en-US"/>
        </a:p>
      </dgm:t>
    </dgm:pt>
    <dgm:pt modelId="{64A981D5-9374-4FCA-A8F4-00E474ED1576}" type="pres">
      <dgm:prSet presAssocID="{3D59EC08-9332-45E0-9AE7-8AF5483D7A4F}" presName="linear" presStyleCnt="0">
        <dgm:presLayoutVars>
          <dgm:dir/>
          <dgm:animLvl val="lvl"/>
          <dgm:resizeHandles val="exact"/>
        </dgm:presLayoutVars>
      </dgm:prSet>
      <dgm:spPr/>
    </dgm:pt>
    <dgm:pt modelId="{65DD332B-0777-427B-8BF6-F4B9F6F21EEA}" type="pres">
      <dgm:prSet presAssocID="{B711003B-71CF-403B-A4E2-C25AAE92A270}" presName="parentLin" presStyleCnt="0"/>
      <dgm:spPr/>
    </dgm:pt>
    <dgm:pt modelId="{64B2DE64-E65C-43DC-BD08-81DD6B0B9DDD}" type="pres">
      <dgm:prSet presAssocID="{B711003B-71CF-403B-A4E2-C25AAE92A270}" presName="parentLeftMargin" presStyleLbl="node1" presStyleIdx="0" presStyleCnt="3"/>
      <dgm:spPr/>
    </dgm:pt>
    <dgm:pt modelId="{35B8B9FC-FC2F-48D1-8D16-AD533F24C4B6}" type="pres">
      <dgm:prSet presAssocID="{B711003B-71CF-403B-A4E2-C25AAE92A270}" presName="parentText" presStyleLbl="node1" presStyleIdx="0" presStyleCnt="3">
        <dgm:presLayoutVars>
          <dgm:chMax val="0"/>
          <dgm:bulletEnabled val="1"/>
        </dgm:presLayoutVars>
      </dgm:prSet>
      <dgm:spPr/>
    </dgm:pt>
    <dgm:pt modelId="{6070ABA8-2C0A-4939-94B9-442A8653ED30}" type="pres">
      <dgm:prSet presAssocID="{B711003B-71CF-403B-A4E2-C25AAE92A270}" presName="negativeSpace" presStyleCnt="0"/>
      <dgm:spPr/>
    </dgm:pt>
    <dgm:pt modelId="{E3A4A9AB-47D7-4AAC-82AD-B40F8998EDDA}" type="pres">
      <dgm:prSet presAssocID="{B711003B-71CF-403B-A4E2-C25AAE92A270}" presName="childText" presStyleLbl="conFgAcc1" presStyleIdx="0" presStyleCnt="3">
        <dgm:presLayoutVars>
          <dgm:bulletEnabled val="1"/>
        </dgm:presLayoutVars>
      </dgm:prSet>
      <dgm:spPr/>
    </dgm:pt>
    <dgm:pt modelId="{47C07011-0120-4156-8651-12193D99555C}" type="pres">
      <dgm:prSet presAssocID="{87DC0BCB-FF55-4C8C-A7F0-40E0A7DB3223}" presName="spaceBetweenRectangles" presStyleCnt="0"/>
      <dgm:spPr/>
    </dgm:pt>
    <dgm:pt modelId="{8A760CA9-26C0-4DF5-B16E-575AB0BC195D}" type="pres">
      <dgm:prSet presAssocID="{501618A0-93EE-4C28-81D7-D794D90785DD}" presName="parentLin" presStyleCnt="0"/>
      <dgm:spPr/>
    </dgm:pt>
    <dgm:pt modelId="{FC141A0F-147B-49F1-BAC8-A93733021031}" type="pres">
      <dgm:prSet presAssocID="{501618A0-93EE-4C28-81D7-D794D90785DD}" presName="parentLeftMargin" presStyleLbl="node1" presStyleIdx="0" presStyleCnt="3"/>
      <dgm:spPr/>
    </dgm:pt>
    <dgm:pt modelId="{CDE54510-D1F2-44F3-BA3A-F9CEC9431F7F}" type="pres">
      <dgm:prSet presAssocID="{501618A0-93EE-4C28-81D7-D794D90785DD}" presName="parentText" presStyleLbl="node1" presStyleIdx="1" presStyleCnt="3">
        <dgm:presLayoutVars>
          <dgm:chMax val="0"/>
          <dgm:bulletEnabled val="1"/>
        </dgm:presLayoutVars>
      </dgm:prSet>
      <dgm:spPr/>
    </dgm:pt>
    <dgm:pt modelId="{416562D5-4417-419C-A847-BC53E2DE7D2F}" type="pres">
      <dgm:prSet presAssocID="{501618A0-93EE-4C28-81D7-D794D90785DD}" presName="negativeSpace" presStyleCnt="0"/>
      <dgm:spPr/>
    </dgm:pt>
    <dgm:pt modelId="{4463158C-EC9F-489E-9836-2A7B1CB462AF}" type="pres">
      <dgm:prSet presAssocID="{501618A0-93EE-4C28-81D7-D794D90785DD}" presName="childText" presStyleLbl="conFgAcc1" presStyleIdx="1" presStyleCnt="3">
        <dgm:presLayoutVars>
          <dgm:bulletEnabled val="1"/>
        </dgm:presLayoutVars>
      </dgm:prSet>
      <dgm:spPr/>
    </dgm:pt>
    <dgm:pt modelId="{8BEBBCE4-5F6F-48D7-A0DA-1E9DD4724580}" type="pres">
      <dgm:prSet presAssocID="{95ADA168-B0D1-4E95-A3DA-D575FDE947AD}" presName="spaceBetweenRectangles" presStyleCnt="0"/>
      <dgm:spPr/>
    </dgm:pt>
    <dgm:pt modelId="{BC125C4C-78D4-4F5A-9A62-018A3C266535}" type="pres">
      <dgm:prSet presAssocID="{DA3CEB1E-FB78-4DFC-8727-7ECBD3A5E0D2}" presName="parentLin" presStyleCnt="0"/>
      <dgm:spPr/>
    </dgm:pt>
    <dgm:pt modelId="{0F54BF83-761F-459E-8693-7F1E9ADF781A}" type="pres">
      <dgm:prSet presAssocID="{DA3CEB1E-FB78-4DFC-8727-7ECBD3A5E0D2}" presName="parentLeftMargin" presStyleLbl="node1" presStyleIdx="1" presStyleCnt="3"/>
      <dgm:spPr/>
    </dgm:pt>
    <dgm:pt modelId="{F23A4A5F-3279-4844-9F37-797736070D7C}" type="pres">
      <dgm:prSet presAssocID="{DA3CEB1E-FB78-4DFC-8727-7ECBD3A5E0D2}" presName="parentText" presStyleLbl="node1" presStyleIdx="2" presStyleCnt="3">
        <dgm:presLayoutVars>
          <dgm:chMax val="0"/>
          <dgm:bulletEnabled val="1"/>
        </dgm:presLayoutVars>
      </dgm:prSet>
      <dgm:spPr/>
    </dgm:pt>
    <dgm:pt modelId="{04DE1379-AA20-4E15-9D9C-DC1A97877584}" type="pres">
      <dgm:prSet presAssocID="{DA3CEB1E-FB78-4DFC-8727-7ECBD3A5E0D2}" presName="negativeSpace" presStyleCnt="0"/>
      <dgm:spPr/>
    </dgm:pt>
    <dgm:pt modelId="{416B9D5B-018B-4AD8-95F9-F3A46DF79AF1}" type="pres">
      <dgm:prSet presAssocID="{DA3CEB1E-FB78-4DFC-8727-7ECBD3A5E0D2}" presName="childText" presStyleLbl="conFgAcc1" presStyleIdx="2" presStyleCnt="3">
        <dgm:presLayoutVars>
          <dgm:bulletEnabled val="1"/>
        </dgm:presLayoutVars>
      </dgm:prSet>
      <dgm:spPr/>
    </dgm:pt>
  </dgm:ptLst>
  <dgm:cxnLst>
    <dgm:cxn modelId="{B2594404-48C9-4523-9B2F-8B09D68BF2C9}" type="presOf" srcId="{58250BBC-F260-4073-B4E4-A29438F4C58E}" destId="{416B9D5B-018B-4AD8-95F9-F3A46DF79AF1}" srcOrd="0" destOrd="2" presId="urn:microsoft.com/office/officeart/2005/8/layout/list1"/>
    <dgm:cxn modelId="{5CEF270F-9DD6-468A-AB7E-DE583EF7D280}" srcId="{DA3CEB1E-FB78-4DFC-8727-7ECBD3A5E0D2}" destId="{54F52F22-16EC-437C-89EB-620112022E96}" srcOrd="0" destOrd="0" parTransId="{2B2979BB-82D3-4319-BD75-AA0F25DDB37B}" sibTransId="{ECBBEE0F-17E3-485B-B744-FBF45AF194BB}"/>
    <dgm:cxn modelId="{7158A427-0692-4AB1-972B-80D05B19D630}" type="presOf" srcId="{92A19483-07B8-4E84-8FE1-2F9982D29163}" destId="{E3A4A9AB-47D7-4AAC-82AD-B40F8998EDDA}" srcOrd="0" destOrd="0" presId="urn:microsoft.com/office/officeart/2005/8/layout/list1"/>
    <dgm:cxn modelId="{99B2E25F-75CE-4679-9A89-BF56432A24D2}" type="presOf" srcId="{54F52F22-16EC-437C-89EB-620112022E96}" destId="{416B9D5B-018B-4AD8-95F9-F3A46DF79AF1}" srcOrd="0" destOrd="0" presId="urn:microsoft.com/office/officeart/2005/8/layout/list1"/>
    <dgm:cxn modelId="{3CBC7741-93A1-423E-B5C4-A0D06D8AA934}" type="presOf" srcId="{62FBD0AC-EC5A-44DE-8A2E-2C4DC521129F}" destId="{4463158C-EC9F-489E-9836-2A7B1CB462AF}" srcOrd="0" destOrd="1" presId="urn:microsoft.com/office/officeart/2005/8/layout/list1"/>
    <dgm:cxn modelId="{2D6E1B42-03BF-41B3-9DCD-4196586B2532}" type="presOf" srcId="{DA3CEB1E-FB78-4DFC-8727-7ECBD3A5E0D2}" destId="{0F54BF83-761F-459E-8693-7F1E9ADF781A}" srcOrd="0" destOrd="0" presId="urn:microsoft.com/office/officeart/2005/8/layout/list1"/>
    <dgm:cxn modelId="{11986664-5DA0-4757-8ED1-DA23DFDB1EC4}" srcId="{501618A0-93EE-4C28-81D7-D794D90785DD}" destId="{62FBD0AC-EC5A-44DE-8A2E-2C4DC521129F}" srcOrd="1" destOrd="0" parTransId="{EF8AD997-A4A1-407C-B3CB-6EA91BB25FC7}" sibTransId="{F959C7C3-34B8-4D79-9C0F-0C8D7E22C6E9}"/>
    <dgm:cxn modelId="{507EB94D-9D7D-467E-9782-C2EFA74D7CDF}" type="presOf" srcId="{B711003B-71CF-403B-A4E2-C25AAE92A270}" destId="{64B2DE64-E65C-43DC-BD08-81DD6B0B9DDD}" srcOrd="0" destOrd="0" presId="urn:microsoft.com/office/officeart/2005/8/layout/list1"/>
    <dgm:cxn modelId="{DD96AB7A-9FF4-4D93-8CA4-76F4FE428F58}" type="presOf" srcId="{501618A0-93EE-4C28-81D7-D794D90785DD}" destId="{FC141A0F-147B-49F1-BAC8-A93733021031}" srcOrd="0" destOrd="0" presId="urn:microsoft.com/office/officeart/2005/8/layout/list1"/>
    <dgm:cxn modelId="{D271FB8D-C012-41C6-A415-8DC4ADBDBCEC}" type="presOf" srcId="{501618A0-93EE-4C28-81D7-D794D90785DD}" destId="{CDE54510-D1F2-44F3-BA3A-F9CEC9431F7F}" srcOrd="1" destOrd="0" presId="urn:microsoft.com/office/officeart/2005/8/layout/list1"/>
    <dgm:cxn modelId="{26423390-038D-43A2-977D-C8FEF98DDF29}" srcId="{3D59EC08-9332-45E0-9AE7-8AF5483D7A4F}" destId="{DA3CEB1E-FB78-4DFC-8727-7ECBD3A5E0D2}" srcOrd="2" destOrd="0" parTransId="{4393A8AE-C05E-455B-A475-2372DE8A2466}" sibTransId="{5095AF66-B0A2-499C-A4AF-6D353B13B90E}"/>
    <dgm:cxn modelId="{F4DEC491-8E4D-4293-8016-829BF0DA8EB0}" type="presOf" srcId="{B711003B-71CF-403B-A4E2-C25AAE92A270}" destId="{35B8B9FC-FC2F-48D1-8D16-AD533F24C4B6}" srcOrd="1" destOrd="0" presId="urn:microsoft.com/office/officeart/2005/8/layout/list1"/>
    <dgm:cxn modelId="{9AA62993-54EA-4B95-8A3B-E8C023089F61}" srcId="{3D59EC08-9332-45E0-9AE7-8AF5483D7A4F}" destId="{501618A0-93EE-4C28-81D7-D794D90785DD}" srcOrd="1" destOrd="0" parTransId="{32ED9409-A720-44E2-8064-D846BB76657A}" sibTransId="{95ADA168-B0D1-4E95-A3DA-D575FDE947AD}"/>
    <dgm:cxn modelId="{0483B198-8035-401F-B986-74A5142B3FCA}" srcId="{DA3CEB1E-FB78-4DFC-8727-7ECBD3A5E0D2}" destId="{58250BBC-F260-4073-B4E4-A29438F4C58E}" srcOrd="2" destOrd="0" parTransId="{E934EFD9-9714-400E-A76B-B3B07E0BBBFB}" sibTransId="{A931FBA9-C992-4BC1-A512-2B75871CDF61}"/>
    <dgm:cxn modelId="{19CAE3A6-DDC1-4BE9-86AA-7EAFEA44260A}" srcId="{501618A0-93EE-4C28-81D7-D794D90785DD}" destId="{C89B7F27-0175-4E73-A877-53EC21F81594}" srcOrd="0" destOrd="0" parTransId="{283FE0BF-FC54-4EC7-BD26-E0BD9962243F}" sibTransId="{E516E0EC-6D76-4054-B562-0293C50AE49A}"/>
    <dgm:cxn modelId="{D9A3DEAC-A3C8-4023-AA69-DC2668DED2FE}" srcId="{B711003B-71CF-403B-A4E2-C25AAE92A270}" destId="{C6AD797C-8527-4B01-ADD6-8E1C6C87100F}" srcOrd="1" destOrd="0" parTransId="{19FF4E1D-E7D1-4D48-8089-43BA07FF36EB}" sibTransId="{E7144D4E-6B98-495B-B034-1B8C699EC0EA}"/>
    <dgm:cxn modelId="{190462B5-5D8C-4642-8D9F-7DC1071CAC04}" type="presOf" srcId="{C89B7F27-0175-4E73-A877-53EC21F81594}" destId="{4463158C-EC9F-489E-9836-2A7B1CB462AF}" srcOrd="0" destOrd="0" presId="urn:microsoft.com/office/officeart/2005/8/layout/list1"/>
    <dgm:cxn modelId="{31DE63BF-58B6-473E-946E-0DFEC12C668A}" srcId="{3D59EC08-9332-45E0-9AE7-8AF5483D7A4F}" destId="{B711003B-71CF-403B-A4E2-C25AAE92A270}" srcOrd="0" destOrd="0" parTransId="{DA80C0D7-580B-4DFA-BCA7-D29323DDFE2A}" sibTransId="{87DC0BCB-FF55-4C8C-A7F0-40E0A7DB3223}"/>
    <dgm:cxn modelId="{CFDE2AC3-A8B2-4FC1-8DF8-F4EC70EC07CB}" type="presOf" srcId="{DA3CEB1E-FB78-4DFC-8727-7ECBD3A5E0D2}" destId="{F23A4A5F-3279-4844-9F37-797736070D7C}" srcOrd="1" destOrd="0" presId="urn:microsoft.com/office/officeart/2005/8/layout/list1"/>
    <dgm:cxn modelId="{91BC5ECB-FA81-45FA-931C-4574DFCA0D53}" type="presOf" srcId="{3D59EC08-9332-45E0-9AE7-8AF5483D7A4F}" destId="{64A981D5-9374-4FCA-A8F4-00E474ED1576}" srcOrd="0" destOrd="0" presId="urn:microsoft.com/office/officeart/2005/8/layout/list1"/>
    <dgm:cxn modelId="{523FFCCF-A522-4C49-A2C4-173FCEF68B1B}" type="presOf" srcId="{C6AD797C-8527-4B01-ADD6-8E1C6C87100F}" destId="{E3A4A9AB-47D7-4AAC-82AD-B40F8998EDDA}" srcOrd="0" destOrd="1" presId="urn:microsoft.com/office/officeart/2005/8/layout/list1"/>
    <dgm:cxn modelId="{1ECC7BDB-F370-491C-8A49-EBE565311295}" srcId="{B711003B-71CF-403B-A4E2-C25AAE92A270}" destId="{92A19483-07B8-4E84-8FE1-2F9982D29163}" srcOrd="0" destOrd="0" parTransId="{AD6E27F7-6A98-4CFF-8ACD-8ABCA2F50138}" sibTransId="{7C83970B-35A0-486C-A7BC-BDB3137E852C}"/>
    <dgm:cxn modelId="{C2977DED-4A19-4621-B98D-16260CF10A97}" srcId="{DA3CEB1E-FB78-4DFC-8727-7ECBD3A5E0D2}" destId="{45F65CBE-3E31-4E17-B2DB-2E4EAF48E52D}" srcOrd="1" destOrd="0" parTransId="{0CE179BD-59F8-4E6D-B073-A6F3FAFC92AF}" sibTransId="{78FE51E0-0083-4660-BA98-976BE0DC2428}"/>
    <dgm:cxn modelId="{629030FA-6487-49D5-B553-47194849E787}" type="presOf" srcId="{45F65CBE-3E31-4E17-B2DB-2E4EAF48E52D}" destId="{416B9D5B-018B-4AD8-95F9-F3A46DF79AF1}" srcOrd="0" destOrd="1" presId="urn:microsoft.com/office/officeart/2005/8/layout/list1"/>
    <dgm:cxn modelId="{ABF90D9B-7914-427C-9637-C1F1DFF525AA}" type="presParOf" srcId="{64A981D5-9374-4FCA-A8F4-00E474ED1576}" destId="{65DD332B-0777-427B-8BF6-F4B9F6F21EEA}" srcOrd="0" destOrd="0" presId="urn:microsoft.com/office/officeart/2005/8/layout/list1"/>
    <dgm:cxn modelId="{5E0A06E9-6D5C-499F-9DB0-4837860D42BE}" type="presParOf" srcId="{65DD332B-0777-427B-8BF6-F4B9F6F21EEA}" destId="{64B2DE64-E65C-43DC-BD08-81DD6B0B9DDD}" srcOrd="0" destOrd="0" presId="urn:microsoft.com/office/officeart/2005/8/layout/list1"/>
    <dgm:cxn modelId="{886AA3B2-727A-4FBD-B5D0-E2FF35A6EEE8}" type="presParOf" srcId="{65DD332B-0777-427B-8BF6-F4B9F6F21EEA}" destId="{35B8B9FC-FC2F-48D1-8D16-AD533F24C4B6}" srcOrd="1" destOrd="0" presId="urn:microsoft.com/office/officeart/2005/8/layout/list1"/>
    <dgm:cxn modelId="{BF28EC05-81F8-4688-96EE-AFDB06D3F806}" type="presParOf" srcId="{64A981D5-9374-4FCA-A8F4-00E474ED1576}" destId="{6070ABA8-2C0A-4939-94B9-442A8653ED30}" srcOrd="1" destOrd="0" presId="urn:microsoft.com/office/officeart/2005/8/layout/list1"/>
    <dgm:cxn modelId="{BCB754E2-233A-4539-9470-80D296E781D0}" type="presParOf" srcId="{64A981D5-9374-4FCA-A8F4-00E474ED1576}" destId="{E3A4A9AB-47D7-4AAC-82AD-B40F8998EDDA}" srcOrd="2" destOrd="0" presId="urn:microsoft.com/office/officeart/2005/8/layout/list1"/>
    <dgm:cxn modelId="{8E20B65F-1E48-4EEC-865F-82945B4D7F3F}" type="presParOf" srcId="{64A981D5-9374-4FCA-A8F4-00E474ED1576}" destId="{47C07011-0120-4156-8651-12193D99555C}" srcOrd="3" destOrd="0" presId="urn:microsoft.com/office/officeart/2005/8/layout/list1"/>
    <dgm:cxn modelId="{AE31D863-A91B-4E19-9FEB-DF54DBDADC71}" type="presParOf" srcId="{64A981D5-9374-4FCA-A8F4-00E474ED1576}" destId="{8A760CA9-26C0-4DF5-B16E-575AB0BC195D}" srcOrd="4" destOrd="0" presId="urn:microsoft.com/office/officeart/2005/8/layout/list1"/>
    <dgm:cxn modelId="{891F76BA-9991-497B-B59C-C48FD3026A7E}" type="presParOf" srcId="{8A760CA9-26C0-4DF5-B16E-575AB0BC195D}" destId="{FC141A0F-147B-49F1-BAC8-A93733021031}" srcOrd="0" destOrd="0" presId="urn:microsoft.com/office/officeart/2005/8/layout/list1"/>
    <dgm:cxn modelId="{FDE9E966-034A-4939-9717-346130842838}" type="presParOf" srcId="{8A760CA9-26C0-4DF5-B16E-575AB0BC195D}" destId="{CDE54510-D1F2-44F3-BA3A-F9CEC9431F7F}" srcOrd="1" destOrd="0" presId="urn:microsoft.com/office/officeart/2005/8/layout/list1"/>
    <dgm:cxn modelId="{B68FE854-6CD2-403B-9DC8-88575409BA6F}" type="presParOf" srcId="{64A981D5-9374-4FCA-A8F4-00E474ED1576}" destId="{416562D5-4417-419C-A847-BC53E2DE7D2F}" srcOrd="5" destOrd="0" presId="urn:microsoft.com/office/officeart/2005/8/layout/list1"/>
    <dgm:cxn modelId="{92A123E7-281C-49D4-9010-4D36D6F4A68B}" type="presParOf" srcId="{64A981D5-9374-4FCA-A8F4-00E474ED1576}" destId="{4463158C-EC9F-489E-9836-2A7B1CB462AF}" srcOrd="6" destOrd="0" presId="urn:microsoft.com/office/officeart/2005/8/layout/list1"/>
    <dgm:cxn modelId="{A5C11662-F453-470D-961A-146D9BAE2FFC}" type="presParOf" srcId="{64A981D5-9374-4FCA-A8F4-00E474ED1576}" destId="{8BEBBCE4-5F6F-48D7-A0DA-1E9DD4724580}" srcOrd="7" destOrd="0" presId="urn:microsoft.com/office/officeart/2005/8/layout/list1"/>
    <dgm:cxn modelId="{1BEE32C7-ED35-4955-ABDD-FD643480ED54}" type="presParOf" srcId="{64A981D5-9374-4FCA-A8F4-00E474ED1576}" destId="{BC125C4C-78D4-4F5A-9A62-018A3C266535}" srcOrd="8" destOrd="0" presId="urn:microsoft.com/office/officeart/2005/8/layout/list1"/>
    <dgm:cxn modelId="{D814105B-AB1D-4013-ADF0-251DB07D2809}" type="presParOf" srcId="{BC125C4C-78D4-4F5A-9A62-018A3C266535}" destId="{0F54BF83-761F-459E-8693-7F1E9ADF781A}" srcOrd="0" destOrd="0" presId="urn:microsoft.com/office/officeart/2005/8/layout/list1"/>
    <dgm:cxn modelId="{C1F28C6E-BBD1-4BAB-884A-6C18F8D097D7}" type="presParOf" srcId="{BC125C4C-78D4-4F5A-9A62-018A3C266535}" destId="{F23A4A5F-3279-4844-9F37-797736070D7C}" srcOrd="1" destOrd="0" presId="urn:microsoft.com/office/officeart/2005/8/layout/list1"/>
    <dgm:cxn modelId="{4E274685-5756-4F3D-978B-7E028FF05907}" type="presParOf" srcId="{64A981D5-9374-4FCA-A8F4-00E474ED1576}" destId="{04DE1379-AA20-4E15-9D9C-DC1A97877584}" srcOrd="9" destOrd="0" presId="urn:microsoft.com/office/officeart/2005/8/layout/list1"/>
    <dgm:cxn modelId="{289006B7-C8DB-491F-A121-1D411387C74F}" type="presParOf" srcId="{64A981D5-9374-4FCA-A8F4-00E474ED1576}" destId="{416B9D5B-018B-4AD8-95F9-F3A46DF79AF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3F71EF-B9E6-4E1F-AC2A-22D3BEEE869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2C2768-94F8-43A2-A56D-04501D9120D1}">
      <dgm:prSet/>
      <dgm:spPr/>
      <dgm:t>
        <a:bodyPr/>
        <a:lstStyle/>
        <a:p>
          <a:r>
            <a:rPr lang="en-US"/>
            <a:t>In Azure portal, go to: Subscriptions &gt; select the subscription &gt; resource providers &gt; filter by the word “marketplace” &gt; make sure all three results are enabled for Azure Marketplace.</a:t>
          </a:r>
        </a:p>
      </dgm:t>
    </dgm:pt>
    <dgm:pt modelId="{47922895-F38F-49CD-B260-39531D1EAC94}" type="parTrans" cxnId="{6B158961-54F4-4EA2-9EFA-9C5FFC219CDC}">
      <dgm:prSet/>
      <dgm:spPr/>
      <dgm:t>
        <a:bodyPr/>
        <a:lstStyle/>
        <a:p>
          <a:endParaRPr lang="en-US"/>
        </a:p>
      </dgm:t>
    </dgm:pt>
    <dgm:pt modelId="{CF5ADCAA-71DF-469E-A5A0-8104F9D1C849}" type="sibTrans" cxnId="{6B158961-54F4-4EA2-9EFA-9C5FFC219CDC}">
      <dgm:prSet/>
      <dgm:spPr/>
      <dgm:t>
        <a:bodyPr/>
        <a:lstStyle/>
        <a:p>
          <a:endParaRPr lang="en-US"/>
        </a:p>
      </dgm:t>
    </dgm:pt>
    <dgm:pt modelId="{EEE75EB5-BC23-4D3D-BEDD-72A78D015E71}">
      <dgm:prSet/>
      <dgm:spPr/>
      <dgm:t>
        <a:bodyPr/>
        <a:lstStyle/>
        <a:p>
          <a:r>
            <a:rPr lang="en-US"/>
            <a:t>To find your billing account permissions, go to the Azure portal and select Cost Management &amp; Billing &gt; Billing Scopes &gt; (select the billing account you want) &gt; Access Management (IAM).</a:t>
          </a:r>
        </a:p>
      </dgm:t>
    </dgm:pt>
    <dgm:pt modelId="{98CE6B8D-3909-43F8-B710-970F6C3A3943}" type="parTrans" cxnId="{04D81072-989C-4D71-B512-3FC88FC2C7BB}">
      <dgm:prSet/>
      <dgm:spPr/>
      <dgm:t>
        <a:bodyPr/>
        <a:lstStyle/>
        <a:p>
          <a:endParaRPr lang="en-US"/>
        </a:p>
      </dgm:t>
    </dgm:pt>
    <dgm:pt modelId="{1A7A80EF-A58E-4564-9DFF-E985361915AA}" type="sibTrans" cxnId="{04D81072-989C-4D71-B512-3FC88FC2C7BB}">
      <dgm:prSet/>
      <dgm:spPr/>
      <dgm:t>
        <a:bodyPr/>
        <a:lstStyle/>
        <a:p>
          <a:endParaRPr lang="en-US"/>
        </a:p>
      </dgm:t>
    </dgm:pt>
    <dgm:pt modelId="{C0CD377A-CA32-4C9E-93A9-493B14EC4660}">
      <dgm:prSet/>
      <dgm:spPr/>
      <dgm:t>
        <a:bodyPr/>
        <a:lstStyle/>
        <a:p>
          <a:r>
            <a:rPr lang="en-US"/>
            <a:t>If you don't see the billing account you're looking for, it means you don't have permission to it (including read-only permissions). To learn more, see Billing accounts and scopes in the Azure portal.</a:t>
          </a:r>
        </a:p>
      </dgm:t>
    </dgm:pt>
    <dgm:pt modelId="{D8F6D083-14CA-490E-ABC8-94B9D7A00888}" type="parTrans" cxnId="{1079250A-A6FE-4369-A51E-F7D9FF379212}">
      <dgm:prSet/>
      <dgm:spPr/>
      <dgm:t>
        <a:bodyPr/>
        <a:lstStyle/>
        <a:p>
          <a:endParaRPr lang="en-US"/>
        </a:p>
      </dgm:t>
    </dgm:pt>
    <dgm:pt modelId="{FD59DB9E-5FB5-4B7B-ABD5-834BFB8AF7FE}" type="sibTrans" cxnId="{1079250A-A6FE-4369-A51E-F7D9FF379212}">
      <dgm:prSet/>
      <dgm:spPr/>
      <dgm:t>
        <a:bodyPr/>
        <a:lstStyle/>
        <a:p>
          <a:endParaRPr lang="en-US"/>
        </a:p>
      </dgm:t>
    </dgm:pt>
    <dgm:pt modelId="{38834E6C-939B-4C68-881A-D99A8C0D14B8}">
      <dgm:prSet/>
      <dgm:spPr/>
      <dgm:t>
        <a:bodyPr/>
        <a:lstStyle/>
        <a:p>
          <a:r>
            <a:rPr lang="en-US"/>
            <a:t>To find if you can register third-party applications via SSO, check on Azure AD menu that users can register applications (Activating your SaaS service requires SSO permissions to third party apps)</a:t>
          </a:r>
        </a:p>
      </dgm:t>
    </dgm:pt>
    <dgm:pt modelId="{00311A1E-646B-4C1F-8716-CC5183456368}" type="parTrans" cxnId="{9AB2DD4C-3BA9-4B95-8562-93607AE8A9E4}">
      <dgm:prSet/>
      <dgm:spPr/>
      <dgm:t>
        <a:bodyPr/>
        <a:lstStyle/>
        <a:p>
          <a:endParaRPr lang="en-US"/>
        </a:p>
      </dgm:t>
    </dgm:pt>
    <dgm:pt modelId="{23CF05F7-9D00-4D40-B29C-C47D41BE992B}" type="sibTrans" cxnId="{9AB2DD4C-3BA9-4B95-8562-93607AE8A9E4}">
      <dgm:prSet/>
      <dgm:spPr/>
      <dgm:t>
        <a:bodyPr/>
        <a:lstStyle/>
        <a:p>
          <a:endParaRPr lang="en-US"/>
        </a:p>
      </dgm:t>
    </dgm:pt>
    <dgm:pt modelId="{61FE7543-30AA-4B58-BD8E-13506D1AA670}" type="pres">
      <dgm:prSet presAssocID="{163F71EF-B9E6-4E1F-AC2A-22D3BEEE869B}" presName="root" presStyleCnt="0">
        <dgm:presLayoutVars>
          <dgm:dir/>
          <dgm:resizeHandles val="exact"/>
        </dgm:presLayoutVars>
      </dgm:prSet>
      <dgm:spPr/>
    </dgm:pt>
    <dgm:pt modelId="{34D98849-A8EC-4512-9D1D-EA7564BB3D55}" type="pres">
      <dgm:prSet presAssocID="{BE2C2768-94F8-43A2-A56D-04501D9120D1}" presName="compNode" presStyleCnt="0"/>
      <dgm:spPr/>
    </dgm:pt>
    <dgm:pt modelId="{3BC6D9BC-D594-49A2-97F6-C14799756212}" type="pres">
      <dgm:prSet presAssocID="{BE2C2768-94F8-43A2-A56D-04501D9120D1}" presName="bgRect" presStyleLbl="bgShp" presStyleIdx="0" presStyleCnt="4"/>
      <dgm:spPr>
        <a:solidFill>
          <a:schemeClr val="accent2">
            <a:lumMod val="60000"/>
            <a:lumOff val="40000"/>
          </a:schemeClr>
        </a:solidFill>
      </dgm:spPr>
    </dgm:pt>
    <dgm:pt modelId="{1C921374-3434-44A4-90B0-7394D130E2D5}" type="pres">
      <dgm:prSet presAssocID="{BE2C2768-94F8-43A2-A56D-04501D9120D1}"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ilter"/>
        </a:ext>
      </dgm:extLst>
    </dgm:pt>
    <dgm:pt modelId="{F6CB4FB4-5B4B-4777-9937-FCBDDD6F3905}" type="pres">
      <dgm:prSet presAssocID="{BE2C2768-94F8-43A2-A56D-04501D9120D1}" presName="spaceRect" presStyleCnt="0"/>
      <dgm:spPr/>
    </dgm:pt>
    <dgm:pt modelId="{1ECBF556-0D7C-496E-88C2-E002786B84B4}" type="pres">
      <dgm:prSet presAssocID="{BE2C2768-94F8-43A2-A56D-04501D9120D1}" presName="parTx" presStyleLbl="revTx" presStyleIdx="0" presStyleCnt="4">
        <dgm:presLayoutVars>
          <dgm:chMax val="0"/>
          <dgm:chPref val="0"/>
        </dgm:presLayoutVars>
      </dgm:prSet>
      <dgm:spPr/>
    </dgm:pt>
    <dgm:pt modelId="{C3329EAF-115F-4BB2-8683-E88890DC87B7}" type="pres">
      <dgm:prSet presAssocID="{CF5ADCAA-71DF-469E-A5A0-8104F9D1C849}" presName="sibTrans" presStyleCnt="0"/>
      <dgm:spPr/>
    </dgm:pt>
    <dgm:pt modelId="{8AC63139-DD7B-49C1-BB9F-C7FFEDB608EF}" type="pres">
      <dgm:prSet presAssocID="{EEE75EB5-BC23-4D3D-BEDD-72A78D015E71}" presName="compNode" presStyleCnt="0"/>
      <dgm:spPr/>
    </dgm:pt>
    <dgm:pt modelId="{63CA4B60-F8C6-41C8-8716-CA007D869189}" type="pres">
      <dgm:prSet presAssocID="{EEE75EB5-BC23-4D3D-BEDD-72A78D015E71}" presName="bgRect" presStyleLbl="bgShp" presStyleIdx="1" presStyleCnt="4"/>
      <dgm:spPr>
        <a:solidFill>
          <a:schemeClr val="accent2">
            <a:lumMod val="60000"/>
            <a:lumOff val="40000"/>
          </a:schemeClr>
        </a:solidFill>
      </dgm:spPr>
    </dgm:pt>
    <dgm:pt modelId="{C95DB5FA-1F17-46B1-86BC-9E3E95817252}" type="pres">
      <dgm:prSet presAssocID="{EEE75EB5-BC23-4D3D-BEDD-72A78D015E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formation"/>
        </a:ext>
      </dgm:extLst>
    </dgm:pt>
    <dgm:pt modelId="{36265DE2-E35E-442B-A9FB-D4B6E38D7C28}" type="pres">
      <dgm:prSet presAssocID="{EEE75EB5-BC23-4D3D-BEDD-72A78D015E71}" presName="spaceRect" presStyleCnt="0"/>
      <dgm:spPr/>
    </dgm:pt>
    <dgm:pt modelId="{2F057E3F-FBBF-4E63-8B0E-9CB7DB4A0626}" type="pres">
      <dgm:prSet presAssocID="{EEE75EB5-BC23-4D3D-BEDD-72A78D015E71}" presName="parTx" presStyleLbl="revTx" presStyleIdx="1" presStyleCnt="4">
        <dgm:presLayoutVars>
          <dgm:chMax val="0"/>
          <dgm:chPref val="0"/>
        </dgm:presLayoutVars>
      </dgm:prSet>
      <dgm:spPr/>
    </dgm:pt>
    <dgm:pt modelId="{D9D1F2D4-561C-4DF6-AA39-FB02AA471B1A}" type="pres">
      <dgm:prSet presAssocID="{1A7A80EF-A58E-4564-9DFF-E985361915AA}" presName="sibTrans" presStyleCnt="0"/>
      <dgm:spPr/>
    </dgm:pt>
    <dgm:pt modelId="{F6179E35-B45C-4AC9-8419-42F707F085C0}" type="pres">
      <dgm:prSet presAssocID="{C0CD377A-CA32-4C9E-93A9-493B14EC4660}" presName="compNode" presStyleCnt="0"/>
      <dgm:spPr/>
    </dgm:pt>
    <dgm:pt modelId="{686572CC-AF7A-44B7-B838-130EA4B7245B}" type="pres">
      <dgm:prSet presAssocID="{C0CD377A-CA32-4C9E-93A9-493B14EC4660}" presName="bgRect" presStyleLbl="bgShp" presStyleIdx="2" presStyleCnt="4"/>
      <dgm:spPr>
        <a:solidFill>
          <a:schemeClr val="accent2">
            <a:lumMod val="60000"/>
            <a:lumOff val="40000"/>
          </a:schemeClr>
        </a:solidFill>
      </dgm:spPr>
    </dgm:pt>
    <dgm:pt modelId="{0CD868EC-EE32-475D-8542-567FC0023D53}" type="pres">
      <dgm:prSet presAssocID="{C0CD377A-CA32-4C9E-93A9-493B14EC466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D4C1A085-1FB7-40C8-A23E-CE0E4289D5FD}" type="pres">
      <dgm:prSet presAssocID="{C0CD377A-CA32-4C9E-93A9-493B14EC4660}" presName="spaceRect" presStyleCnt="0"/>
      <dgm:spPr/>
    </dgm:pt>
    <dgm:pt modelId="{FC3DE67C-4ECC-4EFC-9242-181B62B20B64}" type="pres">
      <dgm:prSet presAssocID="{C0CD377A-CA32-4C9E-93A9-493B14EC4660}" presName="parTx" presStyleLbl="revTx" presStyleIdx="2" presStyleCnt="4">
        <dgm:presLayoutVars>
          <dgm:chMax val="0"/>
          <dgm:chPref val="0"/>
        </dgm:presLayoutVars>
      </dgm:prSet>
      <dgm:spPr/>
    </dgm:pt>
    <dgm:pt modelId="{D126484C-16EF-4DBB-89C2-0BA22C9C2025}" type="pres">
      <dgm:prSet presAssocID="{FD59DB9E-5FB5-4B7B-ABD5-834BFB8AF7FE}" presName="sibTrans" presStyleCnt="0"/>
      <dgm:spPr/>
    </dgm:pt>
    <dgm:pt modelId="{49ED04DA-C58B-45D0-B7F3-6D3572B905CB}" type="pres">
      <dgm:prSet presAssocID="{38834E6C-939B-4C68-881A-D99A8C0D14B8}" presName="compNode" presStyleCnt="0"/>
      <dgm:spPr/>
    </dgm:pt>
    <dgm:pt modelId="{9AD606DB-863A-4EB8-8DA7-881F8AF4E8B3}" type="pres">
      <dgm:prSet presAssocID="{38834E6C-939B-4C68-881A-D99A8C0D14B8}" presName="bgRect" presStyleLbl="bgShp" presStyleIdx="3" presStyleCnt="4"/>
      <dgm:spPr>
        <a:solidFill>
          <a:schemeClr val="accent2">
            <a:lumMod val="60000"/>
            <a:lumOff val="40000"/>
          </a:schemeClr>
        </a:solidFill>
      </dgm:spPr>
    </dgm:pt>
    <dgm:pt modelId="{2E50BE81-51C7-4DD6-A7C2-5B00583819D8}" type="pres">
      <dgm:prSet presAssocID="{38834E6C-939B-4C68-881A-D99A8C0D14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erver"/>
        </a:ext>
      </dgm:extLst>
    </dgm:pt>
    <dgm:pt modelId="{865CB04E-123B-40FC-B92D-28C2B8C827D2}" type="pres">
      <dgm:prSet presAssocID="{38834E6C-939B-4C68-881A-D99A8C0D14B8}" presName="spaceRect" presStyleCnt="0"/>
      <dgm:spPr/>
    </dgm:pt>
    <dgm:pt modelId="{3FB9BD47-0F23-421E-B830-2B25D95CEE3C}" type="pres">
      <dgm:prSet presAssocID="{38834E6C-939B-4C68-881A-D99A8C0D14B8}" presName="parTx" presStyleLbl="revTx" presStyleIdx="3" presStyleCnt="4">
        <dgm:presLayoutVars>
          <dgm:chMax val="0"/>
          <dgm:chPref val="0"/>
        </dgm:presLayoutVars>
      </dgm:prSet>
      <dgm:spPr/>
    </dgm:pt>
  </dgm:ptLst>
  <dgm:cxnLst>
    <dgm:cxn modelId="{4D1C9B06-2E60-4511-922C-0663B312365F}" type="presOf" srcId="{BE2C2768-94F8-43A2-A56D-04501D9120D1}" destId="{1ECBF556-0D7C-496E-88C2-E002786B84B4}" srcOrd="0" destOrd="0" presId="urn:microsoft.com/office/officeart/2018/2/layout/IconVerticalSolidList"/>
    <dgm:cxn modelId="{CF8A1708-A3FE-4FFE-A539-0A33F3461513}" type="presOf" srcId="{EEE75EB5-BC23-4D3D-BEDD-72A78D015E71}" destId="{2F057E3F-FBBF-4E63-8B0E-9CB7DB4A0626}" srcOrd="0" destOrd="0" presId="urn:microsoft.com/office/officeart/2018/2/layout/IconVerticalSolidList"/>
    <dgm:cxn modelId="{1079250A-A6FE-4369-A51E-F7D9FF379212}" srcId="{163F71EF-B9E6-4E1F-AC2A-22D3BEEE869B}" destId="{C0CD377A-CA32-4C9E-93A9-493B14EC4660}" srcOrd="2" destOrd="0" parTransId="{D8F6D083-14CA-490E-ABC8-94B9D7A00888}" sibTransId="{FD59DB9E-5FB5-4B7B-ABD5-834BFB8AF7FE}"/>
    <dgm:cxn modelId="{6B158961-54F4-4EA2-9EFA-9C5FFC219CDC}" srcId="{163F71EF-B9E6-4E1F-AC2A-22D3BEEE869B}" destId="{BE2C2768-94F8-43A2-A56D-04501D9120D1}" srcOrd="0" destOrd="0" parTransId="{47922895-F38F-49CD-B260-39531D1EAC94}" sibTransId="{CF5ADCAA-71DF-469E-A5A0-8104F9D1C849}"/>
    <dgm:cxn modelId="{9CEF9962-3705-4FAD-8331-BA36007AE0F6}" type="presOf" srcId="{163F71EF-B9E6-4E1F-AC2A-22D3BEEE869B}" destId="{61FE7543-30AA-4B58-BD8E-13506D1AA670}" srcOrd="0" destOrd="0" presId="urn:microsoft.com/office/officeart/2018/2/layout/IconVerticalSolidList"/>
    <dgm:cxn modelId="{9AB2DD4C-3BA9-4B95-8562-93607AE8A9E4}" srcId="{163F71EF-B9E6-4E1F-AC2A-22D3BEEE869B}" destId="{38834E6C-939B-4C68-881A-D99A8C0D14B8}" srcOrd="3" destOrd="0" parTransId="{00311A1E-646B-4C1F-8716-CC5183456368}" sibTransId="{23CF05F7-9D00-4D40-B29C-C47D41BE992B}"/>
    <dgm:cxn modelId="{13AB4950-B37B-4B5D-9F3C-6FB5E5D32AF9}" type="presOf" srcId="{38834E6C-939B-4C68-881A-D99A8C0D14B8}" destId="{3FB9BD47-0F23-421E-B830-2B25D95CEE3C}" srcOrd="0" destOrd="0" presId="urn:microsoft.com/office/officeart/2018/2/layout/IconVerticalSolidList"/>
    <dgm:cxn modelId="{04D81072-989C-4D71-B512-3FC88FC2C7BB}" srcId="{163F71EF-B9E6-4E1F-AC2A-22D3BEEE869B}" destId="{EEE75EB5-BC23-4D3D-BEDD-72A78D015E71}" srcOrd="1" destOrd="0" parTransId="{98CE6B8D-3909-43F8-B710-970F6C3A3943}" sibTransId="{1A7A80EF-A58E-4564-9DFF-E985361915AA}"/>
    <dgm:cxn modelId="{87BBD8FA-E279-4139-853E-4517C685F5FA}" type="presOf" srcId="{C0CD377A-CA32-4C9E-93A9-493B14EC4660}" destId="{FC3DE67C-4ECC-4EFC-9242-181B62B20B64}" srcOrd="0" destOrd="0" presId="urn:microsoft.com/office/officeart/2018/2/layout/IconVerticalSolidList"/>
    <dgm:cxn modelId="{F7CCF272-ABE8-4194-B555-329475AB215D}" type="presParOf" srcId="{61FE7543-30AA-4B58-BD8E-13506D1AA670}" destId="{34D98849-A8EC-4512-9D1D-EA7564BB3D55}" srcOrd="0" destOrd="0" presId="urn:microsoft.com/office/officeart/2018/2/layout/IconVerticalSolidList"/>
    <dgm:cxn modelId="{A96BC51B-EF0F-4AC3-90A6-52019B1287E2}" type="presParOf" srcId="{34D98849-A8EC-4512-9D1D-EA7564BB3D55}" destId="{3BC6D9BC-D594-49A2-97F6-C14799756212}" srcOrd="0" destOrd="0" presId="urn:microsoft.com/office/officeart/2018/2/layout/IconVerticalSolidList"/>
    <dgm:cxn modelId="{44F7DE2C-96D6-4A8C-8A2C-FDAF535074E1}" type="presParOf" srcId="{34D98849-A8EC-4512-9D1D-EA7564BB3D55}" destId="{1C921374-3434-44A4-90B0-7394D130E2D5}" srcOrd="1" destOrd="0" presId="urn:microsoft.com/office/officeart/2018/2/layout/IconVerticalSolidList"/>
    <dgm:cxn modelId="{33EDAA1D-AB7E-4BF2-8A40-1D3E661A4DCD}" type="presParOf" srcId="{34D98849-A8EC-4512-9D1D-EA7564BB3D55}" destId="{F6CB4FB4-5B4B-4777-9937-FCBDDD6F3905}" srcOrd="2" destOrd="0" presId="urn:microsoft.com/office/officeart/2018/2/layout/IconVerticalSolidList"/>
    <dgm:cxn modelId="{69FD8A73-D227-47BB-8232-93D258C1F759}" type="presParOf" srcId="{34D98849-A8EC-4512-9D1D-EA7564BB3D55}" destId="{1ECBF556-0D7C-496E-88C2-E002786B84B4}" srcOrd="3" destOrd="0" presId="urn:microsoft.com/office/officeart/2018/2/layout/IconVerticalSolidList"/>
    <dgm:cxn modelId="{E41D5E10-9FD4-452F-B467-03A385A8C3AE}" type="presParOf" srcId="{61FE7543-30AA-4B58-BD8E-13506D1AA670}" destId="{C3329EAF-115F-4BB2-8683-E88890DC87B7}" srcOrd="1" destOrd="0" presId="urn:microsoft.com/office/officeart/2018/2/layout/IconVerticalSolidList"/>
    <dgm:cxn modelId="{390981C0-3FB5-487D-A4BE-8F903FD8E582}" type="presParOf" srcId="{61FE7543-30AA-4B58-BD8E-13506D1AA670}" destId="{8AC63139-DD7B-49C1-BB9F-C7FFEDB608EF}" srcOrd="2" destOrd="0" presId="urn:microsoft.com/office/officeart/2018/2/layout/IconVerticalSolidList"/>
    <dgm:cxn modelId="{464F8749-BABB-4B64-8081-2DFEFCA82092}" type="presParOf" srcId="{8AC63139-DD7B-49C1-BB9F-C7FFEDB608EF}" destId="{63CA4B60-F8C6-41C8-8716-CA007D869189}" srcOrd="0" destOrd="0" presId="urn:microsoft.com/office/officeart/2018/2/layout/IconVerticalSolidList"/>
    <dgm:cxn modelId="{30D21092-CA7F-45CD-B16D-49F5AA9827B6}" type="presParOf" srcId="{8AC63139-DD7B-49C1-BB9F-C7FFEDB608EF}" destId="{C95DB5FA-1F17-46B1-86BC-9E3E95817252}" srcOrd="1" destOrd="0" presId="urn:microsoft.com/office/officeart/2018/2/layout/IconVerticalSolidList"/>
    <dgm:cxn modelId="{0423CDDD-218E-474C-BEA5-030D94114C7D}" type="presParOf" srcId="{8AC63139-DD7B-49C1-BB9F-C7FFEDB608EF}" destId="{36265DE2-E35E-442B-A9FB-D4B6E38D7C28}" srcOrd="2" destOrd="0" presId="urn:microsoft.com/office/officeart/2018/2/layout/IconVerticalSolidList"/>
    <dgm:cxn modelId="{ABC04AF6-FC01-462E-B117-6971022E9CA4}" type="presParOf" srcId="{8AC63139-DD7B-49C1-BB9F-C7FFEDB608EF}" destId="{2F057E3F-FBBF-4E63-8B0E-9CB7DB4A0626}" srcOrd="3" destOrd="0" presId="urn:microsoft.com/office/officeart/2018/2/layout/IconVerticalSolidList"/>
    <dgm:cxn modelId="{0B9EE71A-5E67-4F67-B3A3-67A0106B6366}" type="presParOf" srcId="{61FE7543-30AA-4B58-BD8E-13506D1AA670}" destId="{D9D1F2D4-561C-4DF6-AA39-FB02AA471B1A}" srcOrd="3" destOrd="0" presId="urn:microsoft.com/office/officeart/2018/2/layout/IconVerticalSolidList"/>
    <dgm:cxn modelId="{BB9710CE-43DD-4072-84EC-20809B087AE4}" type="presParOf" srcId="{61FE7543-30AA-4B58-BD8E-13506D1AA670}" destId="{F6179E35-B45C-4AC9-8419-42F707F085C0}" srcOrd="4" destOrd="0" presId="urn:microsoft.com/office/officeart/2018/2/layout/IconVerticalSolidList"/>
    <dgm:cxn modelId="{F3C8E5F2-9B69-4085-B58A-B8946290770D}" type="presParOf" srcId="{F6179E35-B45C-4AC9-8419-42F707F085C0}" destId="{686572CC-AF7A-44B7-B838-130EA4B7245B}" srcOrd="0" destOrd="0" presId="urn:microsoft.com/office/officeart/2018/2/layout/IconVerticalSolidList"/>
    <dgm:cxn modelId="{F34DD08D-8DE8-4E58-BC88-584410AC582D}" type="presParOf" srcId="{F6179E35-B45C-4AC9-8419-42F707F085C0}" destId="{0CD868EC-EE32-475D-8542-567FC0023D53}" srcOrd="1" destOrd="0" presId="urn:microsoft.com/office/officeart/2018/2/layout/IconVerticalSolidList"/>
    <dgm:cxn modelId="{85E7EC23-127E-436D-BE0F-F9DFF7A933E3}" type="presParOf" srcId="{F6179E35-B45C-4AC9-8419-42F707F085C0}" destId="{D4C1A085-1FB7-40C8-A23E-CE0E4289D5FD}" srcOrd="2" destOrd="0" presId="urn:microsoft.com/office/officeart/2018/2/layout/IconVerticalSolidList"/>
    <dgm:cxn modelId="{C6227506-DB88-4B32-A172-E30F38928B54}" type="presParOf" srcId="{F6179E35-B45C-4AC9-8419-42F707F085C0}" destId="{FC3DE67C-4ECC-4EFC-9242-181B62B20B64}" srcOrd="3" destOrd="0" presId="urn:microsoft.com/office/officeart/2018/2/layout/IconVerticalSolidList"/>
    <dgm:cxn modelId="{8080EA2E-6B42-4914-B290-0166E4B619BA}" type="presParOf" srcId="{61FE7543-30AA-4B58-BD8E-13506D1AA670}" destId="{D126484C-16EF-4DBB-89C2-0BA22C9C2025}" srcOrd="5" destOrd="0" presId="urn:microsoft.com/office/officeart/2018/2/layout/IconVerticalSolidList"/>
    <dgm:cxn modelId="{C8C7BD4A-F25E-4017-B9AF-8E5B2B95B3C0}" type="presParOf" srcId="{61FE7543-30AA-4B58-BD8E-13506D1AA670}" destId="{49ED04DA-C58B-45D0-B7F3-6D3572B905CB}" srcOrd="6" destOrd="0" presId="urn:microsoft.com/office/officeart/2018/2/layout/IconVerticalSolidList"/>
    <dgm:cxn modelId="{1B9D5FF0-EF40-4613-A62D-245938AD77D0}" type="presParOf" srcId="{49ED04DA-C58B-45D0-B7F3-6D3572B905CB}" destId="{9AD606DB-863A-4EB8-8DA7-881F8AF4E8B3}" srcOrd="0" destOrd="0" presId="urn:microsoft.com/office/officeart/2018/2/layout/IconVerticalSolidList"/>
    <dgm:cxn modelId="{C58A8AB8-EB0C-4657-973A-5AD2C7B94491}" type="presParOf" srcId="{49ED04DA-C58B-45D0-B7F3-6D3572B905CB}" destId="{2E50BE81-51C7-4DD6-A7C2-5B00583819D8}" srcOrd="1" destOrd="0" presId="urn:microsoft.com/office/officeart/2018/2/layout/IconVerticalSolidList"/>
    <dgm:cxn modelId="{338C835B-CC04-4B58-9364-B58C8F9190A1}" type="presParOf" srcId="{49ED04DA-C58B-45D0-B7F3-6D3572B905CB}" destId="{865CB04E-123B-40FC-B92D-28C2B8C827D2}" srcOrd="2" destOrd="0" presId="urn:microsoft.com/office/officeart/2018/2/layout/IconVerticalSolidList"/>
    <dgm:cxn modelId="{1BBCB4F2-2E10-42A5-80AD-28566995DDC1}" type="presParOf" srcId="{49ED04DA-C58B-45D0-B7F3-6D3572B905CB}" destId="{3FB9BD47-0F23-421E-B830-2B25D95CEE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4C2B61-EEBB-4B3C-9976-93B80A2307F8}"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2E7446D6-C7BA-44E1-9708-0D01C3E92BD9}">
      <dgm:prSet/>
      <dgm:spPr/>
      <dgm:t>
        <a:bodyPr/>
        <a:lstStyle/>
        <a:p>
          <a:pPr>
            <a:defRPr cap="all"/>
          </a:pPr>
          <a:r>
            <a:rPr lang="en-US" baseline="0"/>
            <a:t>Access to the Marketplace requires Entra ID integration</a:t>
          </a:r>
          <a:endParaRPr lang="en-US"/>
        </a:p>
      </dgm:t>
    </dgm:pt>
    <dgm:pt modelId="{BD606203-DC99-4F9F-8EAF-69DE36CDC4C9}" type="parTrans" cxnId="{27645E20-0A34-457F-899B-E17336D39E18}">
      <dgm:prSet/>
      <dgm:spPr/>
      <dgm:t>
        <a:bodyPr/>
        <a:lstStyle/>
        <a:p>
          <a:endParaRPr lang="en-US"/>
        </a:p>
      </dgm:t>
    </dgm:pt>
    <dgm:pt modelId="{B5953AB4-794C-4EF0-B484-534E5D58BB72}" type="sibTrans" cxnId="{27645E20-0A34-457F-899B-E17336D39E18}">
      <dgm:prSet/>
      <dgm:spPr/>
      <dgm:t>
        <a:bodyPr/>
        <a:lstStyle/>
        <a:p>
          <a:endParaRPr lang="en-US"/>
        </a:p>
      </dgm:t>
    </dgm:pt>
    <dgm:pt modelId="{EFB3A3B2-423D-484E-A149-379E9FC18548}">
      <dgm:prSet/>
      <dgm:spPr/>
      <dgm:t>
        <a:bodyPr/>
        <a:lstStyle/>
        <a:p>
          <a:pPr>
            <a:defRPr cap="all"/>
          </a:pPr>
          <a:r>
            <a:rPr lang="en-US" baseline="0"/>
            <a:t>Provides SSO for users</a:t>
          </a:r>
          <a:endParaRPr lang="en-US"/>
        </a:p>
      </dgm:t>
    </dgm:pt>
    <dgm:pt modelId="{073120C8-1FAE-4150-BDCC-89C7BCC6F6D1}" type="parTrans" cxnId="{CC61604C-189C-408F-A7A8-D9B0E42AA29E}">
      <dgm:prSet/>
      <dgm:spPr/>
      <dgm:t>
        <a:bodyPr/>
        <a:lstStyle/>
        <a:p>
          <a:endParaRPr lang="en-US"/>
        </a:p>
      </dgm:t>
    </dgm:pt>
    <dgm:pt modelId="{B47A5B7E-2EC0-4A4B-8B07-2FB63F0D4FDF}" type="sibTrans" cxnId="{CC61604C-189C-408F-A7A8-D9B0E42AA29E}">
      <dgm:prSet/>
      <dgm:spPr/>
      <dgm:t>
        <a:bodyPr/>
        <a:lstStyle/>
        <a:p>
          <a:endParaRPr lang="en-US"/>
        </a:p>
      </dgm:t>
    </dgm:pt>
    <dgm:pt modelId="{6B036628-9C58-440B-B661-999914C05E21}">
      <dgm:prSet/>
      <dgm:spPr/>
      <dgm:t>
        <a:bodyPr/>
        <a:lstStyle/>
        <a:p>
          <a:pPr>
            <a:defRPr cap="all"/>
          </a:pPr>
          <a:r>
            <a:rPr lang="en-US" baseline="0"/>
            <a:t>Allows users to login through Procurement systems</a:t>
          </a:r>
          <a:endParaRPr lang="en-US"/>
        </a:p>
      </dgm:t>
    </dgm:pt>
    <dgm:pt modelId="{15DE994C-E9E4-4009-8BC8-CD000420D30B}" type="parTrans" cxnId="{6CAE884D-1D5E-4372-A684-D7923031A930}">
      <dgm:prSet/>
      <dgm:spPr/>
      <dgm:t>
        <a:bodyPr/>
        <a:lstStyle/>
        <a:p>
          <a:endParaRPr lang="en-US"/>
        </a:p>
      </dgm:t>
    </dgm:pt>
    <dgm:pt modelId="{BD775361-7204-4E8A-AA2C-D40FD0224A71}" type="sibTrans" cxnId="{6CAE884D-1D5E-4372-A684-D7923031A930}">
      <dgm:prSet/>
      <dgm:spPr/>
      <dgm:t>
        <a:bodyPr/>
        <a:lstStyle/>
        <a:p>
          <a:endParaRPr lang="en-US"/>
        </a:p>
      </dgm:t>
    </dgm:pt>
    <dgm:pt modelId="{A1920D4E-34DF-45D5-9E58-5D816DA1FA2C}">
      <dgm:prSet/>
      <dgm:spPr/>
      <dgm:t>
        <a:bodyPr/>
        <a:lstStyle/>
        <a:p>
          <a:pPr>
            <a:defRPr cap="all"/>
          </a:pPr>
          <a:r>
            <a:rPr lang="en-US" baseline="0"/>
            <a:t>User governance for access to Marketplace</a:t>
          </a:r>
          <a:endParaRPr lang="en-US"/>
        </a:p>
      </dgm:t>
    </dgm:pt>
    <dgm:pt modelId="{8FFDC28D-DF3E-4B75-8225-0BCBF2A4635F}" type="parTrans" cxnId="{F65D0A69-1A32-4245-A654-8515A0B343DE}">
      <dgm:prSet/>
      <dgm:spPr/>
      <dgm:t>
        <a:bodyPr/>
        <a:lstStyle/>
        <a:p>
          <a:endParaRPr lang="en-US"/>
        </a:p>
      </dgm:t>
    </dgm:pt>
    <dgm:pt modelId="{2895EDC5-2567-467C-917A-031E8A259C13}" type="sibTrans" cxnId="{F65D0A69-1A32-4245-A654-8515A0B343DE}">
      <dgm:prSet/>
      <dgm:spPr/>
      <dgm:t>
        <a:bodyPr/>
        <a:lstStyle/>
        <a:p>
          <a:endParaRPr lang="en-US"/>
        </a:p>
      </dgm:t>
    </dgm:pt>
    <dgm:pt modelId="{7F3968B9-1CB9-42EF-B76A-B306FDFCEFFB}" type="pres">
      <dgm:prSet presAssocID="{A64C2B61-EEBB-4B3C-9976-93B80A2307F8}" presName="root" presStyleCnt="0">
        <dgm:presLayoutVars>
          <dgm:dir/>
          <dgm:resizeHandles val="exact"/>
        </dgm:presLayoutVars>
      </dgm:prSet>
      <dgm:spPr/>
    </dgm:pt>
    <dgm:pt modelId="{82C7CACA-B158-491D-95C9-84DA02C093DA}" type="pres">
      <dgm:prSet presAssocID="{2E7446D6-C7BA-44E1-9708-0D01C3E92BD9}" presName="compNode" presStyleCnt="0"/>
      <dgm:spPr/>
    </dgm:pt>
    <dgm:pt modelId="{D02106EA-0AC8-4B5D-983D-94EF5E112A7B}" type="pres">
      <dgm:prSet presAssocID="{2E7446D6-C7BA-44E1-9708-0D01C3E92BD9}" presName="iconBgRect" presStyleLbl="bgShp" presStyleIdx="0" presStyleCnt="4"/>
      <dgm:spPr/>
    </dgm:pt>
    <dgm:pt modelId="{A5434BC8-4479-430A-913B-4E937F5EC312}" type="pres">
      <dgm:prSet presAssocID="{2E7446D6-C7BA-44E1-9708-0D01C3E92BD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5AA937DF-DFD3-4E5A-8074-53AA62511278}" type="pres">
      <dgm:prSet presAssocID="{2E7446D6-C7BA-44E1-9708-0D01C3E92BD9}" presName="spaceRect" presStyleCnt="0"/>
      <dgm:spPr/>
    </dgm:pt>
    <dgm:pt modelId="{B43480CE-2919-417F-BF34-997133081734}" type="pres">
      <dgm:prSet presAssocID="{2E7446D6-C7BA-44E1-9708-0D01C3E92BD9}" presName="textRect" presStyleLbl="revTx" presStyleIdx="0" presStyleCnt="4">
        <dgm:presLayoutVars>
          <dgm:chMax val="1"/>
          <dgm:chPref val="1"/>
        </dgm:presLayoutVars>
      </dgm:prSet>
      <dgm:spPr/>
    </dgm:pt>
    <dgm:pt modelId="{42F487DC-7AB1-4848-A124-98F8DA23F4AC}" type="pres">
      <dgm:prSet presAssocID="{B5953AB4-794C-4EF0-B484-534E5D58BB72}" presName="sibTrans" presStyleCnt="0"/>
      <dgm:spPr/>
    </dgm:pt>
    <dgm:pt modelId="{F28A0B9E-C174-44BC-A7E7-42FFFFE2D2A3}" type="pres">
      <dgm:prSet presAssocID="{EFB3A3B2-423D-484E-A149-379E9FC18548}" presName="compNode" presStyleCnt="0"/>
      <dgm:spPr/>
    </dgm:pt>
    <dgm:pt modelId="{0EB1D68C-8980-4D51-BDDB-EFCB6DF1E2DB}" type="pres">
      <dgm:prSet presAssocID="{EFB3A3B2-423D-484E-A149-379E9FC18548}" presName="iconBgRect" presStyleLbl="bgShp" presStyleIdx="1" presStyleCnt="4"/>
      <dgm:spPr/>
    </dgm:pt>
    <dgm:pt modelId="{4F46459C-42B4-4207-A1E6-E13FF0339821}" type="pres">
      <dgm:prSet presAssocID="{EFB3A3B2-423D-484E-A149-379E9FC1854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81F57A1C-6AA9-4492-81AD-9AFBE26C00E9}" type="pres">
      <dgm:prSet presAssocID="{EFB3A3B2-423D-484E-A149-379E9FC18548}" presName="spaceRect" presStyleCnt="0"/>
      <dgm:spPr/>
    </dgm:pt>
    <dgm:pt modelId="{45F141F5-6920-4C44-AA69-BCB98DA9A01C}" type="pres">
      <dgm:prSet presAssocID="{EFB3A3B2-423D-484E-A149-379E9FC18548}" presName="textRect" presStyleLbl="revTx" presStyleIdx="1" presStyleCnt="4">
        <dgm:presLayoutVars>
          <dgm:chMax val="1"/>
          <dgm:chPref val="1"/>
        </dgm:presLayoutVars>
      </dgm:prSet>
      <dgm:spPr/>
    </dgm:pt>
    <dgm:pt modelId="{87C89F07-2FD5-4F54-A6B3-7C8862D0DBE9}" type="pres">
      <dgm:prSet presAssocID="{B47A5B7E-2EC0-4A4B-8B07-2FB63F0D4FDF}" presName="sibTrans" presStyleCnt="0"/>
      <dgm:spPr/>
    </dgm:pt>
    <dgm:pt modelId="{58889D02-BCD3-456A-B44E-14A16C78282F}" type="pres">
      <dgm:prSet presAssocID="{6B036628-9C58-440B-B661-999914C05E21}" presName="compNode" presStyleCnt="0"/>
      <dgm:spPr/>
    </dgm:pt>
    <dgm:pt modelId="{3393C2F6-81E3-450B-B932-EE5CE1CBB445}" type="pres">
      <dgm:prSet presAssocID="{6B036628-9C58-440B-B661-999914C05E21}" presName="iconBgRect" presStyleLbl="bgShp" presStyleIdx="2" presStyleCnt="4"/>
      <dgm:spPr/>
    </dgm:pt>
    <dgm:pt modelId="{EC0C9BAE-8634-4DEE-AD0A-E80E62775AD7}" type="pres">
      <dgm:prSet presAssocID="{6B036628-9C58-440B-B661-999914C05E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aptop"/>
        </a:ext>
      </dgm:extLst>
    </dgm:pt>
    <dgm:pt modelId="{2E4DCE00-B91F-4237-905E-33818927040E}" type="pres">
      <dgm:prSet presAssocID="{6B036628-9C58-440B-B661-999914C05E21}" presName="spaceRect" presStyleCnt="0"/>
      <dgm:spPr/>
    </dgm:pt>
    <dgm:pt modelId="{66B0C3D6-EED9-4338-BA86-F34F9481DC71}" type="pres">
      <dgm:prSet presAssocID="{6B036628-9C58-440B-B661-999914C05E21}" presName="textRect" presStyleLbl="revTx" presStyleIdx="2" presStyleCnt="4">
        <dgm:presLayoutVars>
          <dgm:chMax val="1"/>
          <dgm:chPref val="1"/>
        </dgm:presLayoutVars>
      </dgm:prSet>
      <dgm:spPr/>
    </dgm:pt>
    <dgm:pt modelId="{E5F73650-00A4-4239-AE29-F71F3989E0B7}" type="pres">
      <dgm:prSet presAssocID="{BD775361-7204-4E8A-AA2C-D40FD0224A71}" presName="sibTrans" presStyleCnt="0"/>
      <dgm:spPr/>
    </dgm:pt>
    <dgm:pt modelId="{BFBB3DBC-F93D-45B9-AD57-371C61D8160F}" type="pres">
      <dgm:prSet presAssocID="{A1920D4E-34DF-45D5-9E58-5D816DA1FA2C}" presName="compNode" presStyleCnt="0"/>
      <dgm:spPr/>
    </dgm:pt>
    <dgm:pt modelId="{305DA574-F90B-41DE-8FB7-F89349DB75DD}" type="pres">
      <dgm:prSet presAssocID="{A1920D4E-34DF-45D5-9E58-5D816DA1FA2C}" presName="iconBgRect" presStyleLbl="bgShp" presStyleIdx="3" presStyleCnt="4"/>
      <dgm:spPr/>
    </dgm:pt>
    <dgm:pt modelId="{88622E50-53E1-4275-B7F2-88D2F91EC132}" type="pres">
      <dgm:prSet presAssocID="{A1920D4E-34DF-45D5-9E58-5D816DA1FA2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7BA9AA5-525C-4177-9AF4-07FFD7453527}" type="pres">
      <dgm:prSet presAssocID="{A1920D4E-34DF-45D5-9E58-5D816DA1FA2C}" presName="spaceRect" presStyleCnt="0"/>
      <dgm:spPr/>
    </dgm:pt>
    <dgm:pt modelId="{30A1736A-6D2A-4C09-BDDA-D08F75FBD65E}" type="pres">
      <dgm:prSet presAssocID="{A1920D4E-34DF-45D5-9E58-5D816DA1FA2C}" presName="textRect" presStyleLbl="revTx" presStyleIdx="3" presStyleCnt="4">
        <dgm:presLayoutVars>
          <dgm:chMax val="1"/>
          <dgm:chPref val="1"/>
        </dgm:presLayoutVars>
      </dgm:prSet>
      <dgm:spPr/>
    </dgm:pt>
  </dgm:ptLst>
  <dgm:cxnLst>
    <dgm:cxn modelId="{27645E20-0A34-457F-899B-E17336D39E18}" srcId="{A64C2B61-EEBB-4B3C-9976-93B80A2307F8}" destId="{2E7446D6-C7BA-44E1-9708-0D01C3E92BD9}" srcOrd="0" destOrd="0" parTransId="{BD606203-DC99-4F9F-8EAF-69DE36CDC4C9}" sibTransId="{B5953AB4-794C-4EF0-B484-534E5D58BB72}"/>
    <dgm:cxn modelId="{F65D0A69-1A32-4245-A654-8515A0B343DE}" srcId="{A64C2B61-EEBB-4B3C-9976-93B80A2307F8}" destId="{A1920D4E-34DF-45D5-9E58-5D816DA1FA2C}" srcOrd="3" destOrd="0" parTransId="{8FFDC28D-DF3E-4B75-8225-0BCBF2A4635F}" sibTransId="{2895EDC5-2567-467C-917A-031E8A259C13}"/>
    <dgm:cxn modelId="{CC61604C-189C-408F-A7A8-D9B0E42AA29E}" srcId="{A64C2B61-EEBB-4B3C-9976-93B80A2307F8}" destId="{EFB3A3B2-423D-484E-A149-379E9FC18548}" srcOrd="1" destOrd="0" parTransId="{073120C8-1FAE-4150-BDCC-89C7BCC6F6D1}" sibTransId="{B47A5B7E-2EC0-4A4B-8B07-2FB63F0D4FDF}"/>
    <dgm:cxn modelId="{6CAE884D-1D5E-4372-A684-D7923031A930}" srcId="{A64C2B61-EEBB-4B3C-9976-93B80A2307F8}" destId="{6B036628-9C58-440B-B661-999914C05E21}" srcOrd="2" destOrd="0" parTransId="{15DE994C-E9E4-4009-8BC8-CD000420D30B}" sibTransId="{BD775361-7204-4E8A-AA2C-D40FD0224A71}"/>
    <dgm:cxn modelId="{E63AC795-75C0-4367-8EBB-B3C8CD6615B7}" type="presOf" srcId="{A1920D4E-34DF-45D5-9E58-5D816DA1FA2C}" destId="{30A1736A-6D2A-4C09-BDDA-D08F75FBD65E}" srcOrd="0" destOrd="0" presId="urn:microsoft.com/office/officeart/2018/5/layout/IconCircleLabelList"/>
    <dgm:cxn modelId="{FC8F3BB1-51CE-4F52-AB17-1FB86113CDCE}" type="presOf" srcId="{6B036628-9C58-440B-B661-999914C05E21}" destId="{66B0C3D6-EED9-4338-BA86-F34F9481DC71}" srcOrd="0" destOrd="0" presId="urn:microsoft.com/office/officeart/2018/5/layout/IconCircleLabelList"/>
    <dgm:cxn modelId="{802D0EC9-E692-4D39-8517-E1884604ADFA}" type="presOf" srcId="{A64C2B61-EEBB-4B3C-9976-93B80A2307F8}" destId="{7F3968B9-1CB9-42EF-B76A-B306FDFCEFFB}" srcOrd="0" destOrd="0" presId="urn:microsoft.com/office/officeart/2018/5/layout/IconCircleLabelList"/>
    <dgm:cxn modelId="{CAC6D4E9-E0BA-4300-8336-56DB698E1878}" type="presOf" srcId="{EFB3A3B2-423D-484E-A149-379E9FC18548}" destId="{45F141F5-6920-4C44-AA69-BCB98DA9A01C}" srcOrd="0" destOrd="0" presId="urn:microsoft.com/office/officeart/2018/5/layout/IconCircleLabelList"/>
    <dgm:cxn modelId="{25E016F4-1599-45B8-B071-9AFB47D00BE4}" type="presOf" srcId="{2E7446D6-C7BA-44E1-9708-0D01C3E92BD9}" destId="{B43480CE-2919-417F-BF34-997133081734}" srcOrd="0" destOrd="0" presId="urn:microsoft.com/office/officeart/2018/5/layout/IconCircleLabelList"/>
    <dgm:cxn modelId="{1542ED0F-E08B-4340-B33E-3D569A9251C9}" type="presParOf" srcId="{7F3968B9-1CB9-42EF-B76A-B306FDFCEFFB}" destId="{82C7CACA-B158-491D-95C9-84DA02C093DA}" srcOrd="0" destOrd="0" presId="urn:microsoft.com/office/officeart/2018/5/layout/IconCircleLabelList"/>
    <dgm:cxn modelId="{46C8569C-0DE5-4A36-A84D-AF6BBAEA1EE0}" type="presParOf" srcId="{82C7CACA-B158-491D-95C9-84DA02C093DA}" destId="{D02106EA-0AC8-4B5D-983D-94EF5E112A7B}" srcOrd="0" destOrd="0" presId="urn:microsoft.com/office/officeart/2018/5/layout/IconCircleLabelList"/>
    <dgm:cxn modelId="{E5180083-BA4B-4C87-98BF-7BBF9098457B}" type="presParOf" srcId="{82C7CACA-B158-491D-95C9-84DA02C093DA}" destId="{A5434BC8-4479-430A-913B-4E937F5EC312}" srcOrd="1" destOrd="0" presId="urn:microsoft.com/office/officeart/2018/5/layout/IconCircleLabelList"/>
    <dgm:cxn modelId="{3BEE9496-0AE1-4E34-8272-369C46C6D199}" type="presParOf" srcId="{82C7CACA-B158-491D-95C9-84DA02C093DA}" destId="{5AA937DF-DFD3-4E5A-8074-53AA62511278}" srcOrd="2" destOrd="0" presId="urn:microsoft.com/office/officeart/2018/5/layout/IconCircleLabelList"/>
    <dgm:cxn modelId="{84975369-8B8E-497D-B81C-728B251BBA40}" type="presParOf" srcId="{82C7CACA-B158-491D-95C9-84DA02C093DA}" destId="{B43480CE-2919-417F-BF34-997133081734}" srcOrd="3" destOrd="0" presId="urn:microsoft.com/office/officeart/2018/5/layout/IconCircleLabelList"/>
    <dgm:cxn modelId="{794EDED1-A67E-4150-A2B7-0B3CC256D974}" type="presParOf" srcId="{7F3968B9-1CB9-42EF-B76A-B306FDFCEFFB}" destId="{42F487DC-7AB1-4848-A124-98F8DA23F4AC}" srcOrd="1" destOrd="0" presId="urn:microsoft.com/office/officeart/2018/5/layout/IconCircleLabelList"/>
    <dgm:cxn modelId="{84ABDCC5-3699-4209-AD8B-9BA9D99A18A3}" type="presParOf" srcId="{7F3968B9-1CB9-42EF-B76A-B306FDFCEFFB}" destId="{F28A0B9E-C174-44BC-A7E7-42FFFFE2D2A3}" srcOrd="2" destOrd="0" presId="urn:microsoft.com/office/officeart/2018/5/layout/IconCircleLabelList"/>
    <dgm:cxn modelId="{AD98A9FC-6E30-49D3-A6CC-F231104CFB23}" type="presParOf" srcId="{F28A0B9E-C174-44BC-A7E7-42FFFFE2D2A3}" destId="{0EB1D68C-8980-4D51-BDDB-EFCB6DF1E2DB}" srcOrd="0" destOrd="0" presId="urn:microsoft.com/office/officeart/2018/5/layout/IconCircleLabelList"/>
    <dgm:cxn modelId="{49866C6E-6997-4E0B-AFE5-4EBA9A42C88F}" type="presParOf" srcId="{F28A0B9E-C174-44BC-A7E7-42FFFFE2D2A3}" destId="{4F46459C-42B4-4207-A1E6-E13FF0339821}" srcOrd="1" destOrd="0" presId="urn:microsoft.com/office/officeart/2018/5/layout/IconCircleLabelList"/>
    <dgm:cxn modelId="{9594D4D5-55CB-44B9-B43F-18BA03EE6636}" type="presParOf" srcId="{F28A0B9E-C174-44BC-A7E7-42FFFFE2D2A3}" destId="{81F57A1C-6AA9-4492-81AD-9AFBE26C00E9}" srcOrd="2" destOrd="0" presId="urn:microsoft.com/office/officeart/2018/5/layout/IconCircleLabelList"/>
    <dgm:cxn modelId="{697512E0-95DE-4B41-8B51-EC42F815F459}" type="presParOf" srcId="{F28A0B9E-C174-44BC-A7E7-42FFFFE2D2A3}" destId="{45F141F5-6920-4C44-AA69-BCB98DA9A01C}" srcOrd="3" destOrd="0" presId="urn:microsoft.com/office/officeart/2018/5/layout/IconCircleLabelList"/>
    <dgm:cxn modelId="{35A713C5-DC1B-490A-A2A2-2809B10F8BDD}" type="presParOf" srcId="{7F3968B9-1CB9-42EF-B76A-B306FDFCEFFB}" destId="{87C89F07-2FD5-4F54-A6B3-7C8862D0DBE9}" srcOrd="3" destOrd="0" presId="urn:microsoft.com/office/officeart/2018/5/layout/IconCircleLabelList"/>
    <dgm:cxn modelId="{E76CDA9C-4742-4BA5-BD05-8D43CD100C30}" type="presParOf" srcId="{7F3968B9-1CB9-42EF-B76A-B306FDFCEFFB}" destId="{58889D02-BCD3-456A-B44E-14A16C78282F}" srcOrd="4" destOrd="0" presId="urn:microsoft.com/office/officeart/2018/5/layout/IconCircleLabelList"/>
    <dgm:cxn modelId="{4C7E0CA8-FE5A-4301-8B44-B04254A0322B}" type="presParOf" srcId="{58889D02-BCD3-456A-B44E-14A16C78282F}" destId="{3393C2F6-81E3-450B-B932-EE5CE1CBB445}" srcOrd="0" destOrd="0" presId="urn:microsoft.com/office/officeart/2018/5/layout/IconCircleLabelList"/>
    <dgm:cxn modelId="{3E4E496E-ADFD-43DF-957E-8D5035F9AE1F}" type="presParOf" srcId="{58889D02-BCD3-456A-B44E-14A16C78282F}" destId="{EC0C9BAE-8634-4DEE-AD0A-E80E62775AD7}" srcOrd="1" destOrd="0" presId="urn:microsoft.com/office/officeart/2018/5/layout/IconCircleLabelList"/>
    <dgm:cxn modelId="{EE3EF480-A52B-4FA8-925B-691150286AB3}" type="presParOf" srcId="{58889D02-BCD3-456A-B44E-14A16C78282F}" destId="{2E4DCE00-B91F-4237-905E-33818927040E}" srcOrd="2" destOrd="0" presId="urn:microsoft.com/office/officeart/2018/5/layout/IconCircleLabelList"/>
    <dgm:cxn modelId="{BA9D67ED-DB00-4970-9A28-EF63EA13B682}" type="presParOf" srcId="{58889D02-BCD3-456A-B44E-14A16C78282F}" destId="{66B0C3D6-EED9-4338-BA86-F34F9481DC71}" srcOrd="3" destOrd="0" presId="urn:microsoft.com/office/officeart/2018/5/layout/IconCircleLabelList"/>
    <dgm:cxn modelId="{B3071A3E-F697-406B-A0F4-60A44180EB95}" type="presParOf" srcId="{7F3968B9-1CB9-42EF-B76A-B306FDFCEFFB}" destId="{E5F73650-00A4-4239-AE29-F71F3989E0B7}" srcOrd="5" destOrd="0" presId="urn:microsoft.com/office/officeart/2018/5/layout/IconCircleLabelList"/>
    <dgm:cxn modelId="{8CB0BBF2-5C55-4D1A-AEA4-880442152BFE}" type="presParOf" srcId="{7F3968B9-1CB9-42EF-B76A-B306FDFCEFFB}" destId="{BFBB3DBC-F93D-45B9-AD57-371C61D8160F}" srcOrd="6" destOrd="0" presId="urn:microsoft.com/office/officeart/2018/5/layout/IconCircleLabelList"/>
    <dgm:cxn modelId="{B64F2990-1293-4D24-B840-F645E14A0BC2}" type="presParOf" srcId="{BFBB3DBC-F93D-45B9-AD57-371C61D8160F}" destId="{305DA574-F90B-41DE-8FB7-F89349DB75DD}" srcOrd="0" destOrd="0" presId="urn:microsoft.com/office/officeart/2018/5/layout/IconCircleLabelList"/>
    <dgm:cxn modelId="{976CAD89-9CF1-4035-A750-8C379F7D5B99}" type="presParOf" srcId="{BFBB3DBC-F93D-45B9-AD57-371C61D8160F}" destId="{88622E50-53E1-4275-B7F2-88D2F91EC132}" srcOrd="1" destOrd="0" presId="urn:microsoft.com/office/officeart/2018/5/layout/IconCircleLabelList"/>
    <dgm:cxn modelId="{9FD36354-F395-4497-AC16-9EE1859A9B2B}" type="presParOf" srcId="{BFBB3DBC-F93D-45B9-AD57-371C61D8160F}" destId="{07BA9AA5-525C-4177-9AF4-07FFD7453527}" srcOrd="2" destOrd="0" presId="urn:microsoft.com/office/officeart/2018/5/layout/IconCircleLabelList"/>
    <dgm:cxn modelId="{40051BD4-8893-4972-8597-7CAD00CA1719}" type="presParOf" srcId="{BFBB3DBC-F93D-45B9-AD57-371C61D8160F}" destId="{30A1736A-6D2A-4C09-BDDA-D08F75FBD65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430044-564E-457D-975A-AFE0A6AF9003}" type="doc">
      <dgm:prSet loTypeId="urn:microsoft.com/office/officeart/2016/7/layout/LinearArrowProcessNumbered" loCatId="process" qsTypeId="urn:microsoft.com/office/officeart/2005/8/quickstyle/simple4" qsCatId="simple" csTypeId="urn:microsoft.com/office/officeart/2005/8/colors/accent3_2" csCatId="accent3"/>
      <dgm:spPr/>
      <dgm:t>
        <a:bodyPr/>
        <a:lstStyle/>
        <a:p>
          <a:endParaRPr lang="en-US"/>
        </a:p>
      </dgm:t>
    </dgm:pt>
    <dgm:pt modelId="{34725228-3AB7-49A0-86F1-FF3E10C8D61E}">
      <dgm:prSet custT="1"/>
      <dgm:spPr/>
      <dgm:t>
        <a:bodyPr/>
        <a:lstStyle/>
        <a:p>
          <a:r>
            <a:rPr lang="en-US" sz="2000" baseline="0"/>
            <a:t>Avoid unrestricted access</a:t>
          </a:r>
          <a:endParaRPr lang="en-US" sz="2000"/>
        </a:p>
      </dgm:t>
    </dgm:pt>
    <dgm:pt modelId="{0B4DBB55-6533-409D-B9D8-626AA362CBE7}" type="parTrans" cxnId="{1734ED06-B46B-4114-8EC8-176D35D57961}">
      <dgm:prSet/>
      <dgm:spPr/>
      <dgm:t>
        <a:bodyPr/>
        <a:lstStyle/>
        <a:p>
          <a:endParaRPr lang="en-US"/>
        </a:p>
      </dgm:t>
    </dgm:pt>
    <dgm:pt modelId="{D6F4D23E-022C-4496-B4CF-1B9BE4C20848}" type="sibTrans" cxnId="{1734ED06-B46B-4114-8EC8-176D35D57961}">
      <dgm:prSet phldrT="1" phldr="0"/>
      <dgm:spPr/>
      <dgm:t>
        <a:bodyPr/>
        <a:lstStyle/>
        <a:p>
          <a:r>
            <a:rPr lang="en-US"/>
            <a:t>1</a:t>
          </a:r>
        </a:p>
      </dgm:t>
    </dgm:pt>
    <dgm:pt modelId="{8DEBF728-6003-4171-B3DF-13F16DE6E10C}">
      <dgm:prSet custT="1"/>
      <dgm:spPr/>
      <dgm:t>
        <a:bodyPr/>
        <a:lstStyle/>
        <a:p>
          <a:r>
            <a:rPr lang="en-US" sz="2000" baseline="0"/>
            <a:t>Have a subset of products</a:t>
          </a:r>
          <a:endParaRPr lang="en-US" sz="2000"/>
        </a:p>
      </dgm:t>
    </dgm:pt>
    <dgm:pt modelId="{85B64EEC-C82D-419A-B5C3-E1A74A9875D0}" type="parTrans" cxnId="{DB409F6F-59F7-4E3B-B7FB-7420C2EDC427}">
      <dgm:prSet/>
      <dgm:spPr/>
      <dgm:t>
        <a:bodyPr/>
        <a:lstStyle/>
        <a:p>
          <a:endParaRPr lang="en-US"/>
        </a:p>
      </dgm:t>
    </dgm:pt>
    <dgm:pt modelId="{BF8B2E9C-4A2C-4C35-BBEC-6ADACC018A75}" type="sibTrans" cxnId="{DB409F6F-59F7-4E3B-B7FB-7420C2EDC427}">
      <dgm:prSet phldrT="2" phldr="0"/>
      <dgm:spPr/>
      <dgm:t>
        <a:bodyPr/>
        <a:lstStyle/>
        <a:p>
          <a:r>
            <a:rPr lang="en-US"/>
            <a:t>2</a:t>
          </a:r>
        </a:p>
      </dgm:t>
    </dgm:pt>
    <dgm:pt modelId="{55C7B347-A037-4837-8A66-1B205641D968}">
      <dgm:prSet custT="1"/>
      <dgm:spPr/>
      <dgm:t>
        <a:bodyPr/>
        <a:lstStyle/>
        <a:p>
          <a:r>
            <a:rPr lang="en-US" sz="2000" baseline="0"/>
            <a:t>Tailor the marketplace for organizational needs</a:t>
          </a:r>
          <a:endParaRPr lang="en-US" sz="2000"/>
        </a:p>
      </dgm:t>
    </dgm:pt>
    <dgm:pt modelId="{6C0CE35D-F7C8-4A82-A39F-787B9EFAAD23}" type="parTrans" cxnId="{D2A5C02A-FA36-484B-A96B-A133B2457F8B}">
      <dgm:prSet/>
      <dgm:spPr/>
      <dgm:t>
        <a:bodyPr/>
        <a:lstStyle/>
        <a:p>
          <a:endParaRPr lang="en-US"/>
        </a:p>
      </dgm:t>
    </dgm:pt>
    <dgm:pt modelId="{56922A55-9944-42E4-A677-BC52AFD5094B}" type="sibTrans" cxnId="{D2A5C02A-FA36-484B-A96B-A133B2457F8B}">
      <dgm:prSet phldrT="3" phldr="0"/>
      <dgm:spPr/>
      <dgm:t>
        <a:bodyPr/>
        <a:lstStyle/>
        <a:p>
          <a:r>
            <a:rPr lang="en-US"/>
            <a:t>3</a:t>
          </a:r>
        </a:p>
      </dgm:t>
    </dgm:pt>
    <dgm:pt modelId="{322DF19F-A1F6-4781-9F7A-E9F42A0A145B}">
      <dgm:prSet custT="1"/>
      <dgm:spPr/>
      <dgm:t>
        <a:bodyPr/>
        <a:lstStyle/>
        <a:p>
          <a:r>
            <a:rPr lang="en-US" sz="2000" baseline="0"/>
            <a:t>Create specific team catalogs at the subscription level</a:t>
          </a:r>
          <a:endParaRPr lang="en-US" sz="2000"/>
        </a:p>
      </dgm:t>
    </dgm:pt>
    <dgm:pt modelId="{F7F94060-B7CB-4DC1-B0FD-9213EFC45863}" type="parTrans" cxnId="{5FF1892D-6DB1-49AA-B71B-247BABCAAC2D}">
      <dgm:prSet/>
      <dgm:spPr/>
      <dgm:t>
        <a:bodyPr/>
        <a:lstStyle/>
        <a:p>
          <a:endParaRPr lang="en-US"/>
        </a:p>
      </dgm:t>
    </dgm:pt>
    <dgm:pt modelId="{244ECE5C-57CA-4674-B1CF-A13D0821A693}" type="sibTrans" cxnId="{5FF1892D-6DB1-49AA-B71B-247BABCAAC2D}">
      <dgm:prSet phldrT="4" phldr="0"/>
      <dgm:spPr/>
      <dgm:t>
        <a:bodyPr/>
        <a:lstStyle/>
        <a:p>
          <a:r>
            <a:rPr lang="en-US"/>
            <a:t>4</a:t>
          </a:r>
        </a:p>
      </dgm:t>
    </dgm:pt>
    <dgm:pt modelId="{B32FBD78-7895-4F3F-895A-4E81CF55E756}" type="pres">
      <dgm:prSet presAssocID="{E5430044-564E-457D-975A-AFE0A6AF9003}" presName="linearFlow" presStyleCnt="0">
        <dgm:presLayoutVars>
          <dgm:dir/>
          <dgm:animLvl val="lvl"/>
          <dgm:resizeHandles val="exact"/>
        </dgm:presLayoutVars>
      </dgm:prSet>
      <dgm:spPr/>
    </dgm:pt>
    <dgm:pt modelId="{85883C6A-67E1-4E66-99FC-B47CDEC8B8DF}" type="pres">
      <dgm:prSet presAssocID="{34725228-3AB7-49A0-86F1-FF3E10C8D61E}" presName="compositeNode" presStyleCnt="0"/>
      <dgm:spPr/>
    </dgm:pt>
    <dgm:pt modelId="{B83B6E46-7DCB-4389-B444-F3355CC02233}" type="pres">
      <dgm:prSet presAssocID="{34725228-3AB7-49A0-86F1-FF3E10C8D61E}" presName="parTx" presStyleLbl="node1" presStyleIdx="0" presStyleCnt="0">
        <dgm:presLayoutVars>
          <dgm:chMax val="0"/>
          <dgm:chPref val="0"/>
          <dgm:bulletEnabled val="1"/>
        </dgm:presLayoutVars>
      </dgm:prSet>
      <dgm:spPr/>
    </dgm:pt>
    <dgm:pt modelId="{2C551C1C-B97E-4387-81E1-FBAAB9FF94BD}" type="pres">
      <dgm:prSet presAssocID="{34725228-3AB7-49A0-86F1-FF3E10C8D61E}" presName="parSh" presStyleCnt="0"/>
      <dgm:spPr/>
    </dgm:pt>
    <dgm:pt modelId="{55096309-307D-419A-9FDE-45C362E45B26}" type="pres">
      <dgm:prSet presAssocID="{34725228-3AB7-49A0-86F1-FF3E10C8D61E}" presName="lineNode" presStyleLbl="alignAccFollowNode1" presStyleIdx="0" presStyleCnt="12"/>
      <dgm:spPr/>
    </dgm:pt>
    <dgm:pt modelId="{88C87A3B-BA36-46F8-9130-B0EDBA391AA1}" type="pres">
      <dgm:prSet presAssocID="{34725228-3AB7-49A0-86F1-FF3E10C8D61E}" presName="lineArrowNode" presStyleLbl="alignAccFollowNode1" presStyleIdx="1" presStyleCnt="12"/>
      <dgm:spPr/>
    </dgm:pt>
    <dgm:pt modelId="{AF122252-A20A-4D52-AB98-EB6AE112FCD6}" type="pres">
      <dgm:prSet presAssocID="{D6F4D23E-022C-4496-B4CF-1B9BE4C20848}" presName="sibTransNodeCircle" presStyleLbl="alignNode1" presStyleIdx="0" presStyleCnt="4">
        <dgm:presLayoutVars>
          <dgm:chMax val="0"/>
          <dgm:bulletEnabled/>
        </dgm:presLayoutVars>
      </dgm:prSet>
      <dgm:spPr/>
    </dgm:pt>
    <dgm:pt modelId="{11F3B753-7C59-4A01-A481-07CB6D4D5C26}" type="pres">
      <dgm:prSet presAssocID="{D6F4D23E-022C-4496-B4CF-1B9BE4C20848}" presName="spacerBetweenCircleAndCallout" presStyleCnt="0">
        <dgm:presLayoutVars/>
      </dgm:prSet>
      <dgm:spPr/>
    </dgm:pt>
    <dgm:pt modelId="{93BCEE63-2FF6-480C-8FCD-64418A85F710}" type="pres">
      <dgm:prSet presAssocID="{34725228-3AB7-49A0-86F1-FF3E10C8D61E}" presName="nodeText" presStyleLbl="alignAccFollowNode1" presStyleIdx="2" presStyleCnt="12">
        <dgm:presLayoutVars>
          <dgm:bulletEnabled val="1"/>
        </dgm:presLayoutVars>
      </dgm:prSet>
      <dgm:spPr/>
    </dgm:pt>
    <dgm:pt modelId="{EA0D787F-EC43-4AD7-A98D-6D7584B62710}" type="pres">
      <dgm:prSet presAssocID="{D6F4D23E-022C-4496-B4CF-1B9BE4C20848}" presName="sibTransComposite" presStyleCnt="0"/>
      <dgm:spPr/>
    </dgm:pt>
    <dgm:pt modelId="{270C2ABD-02FE-41B3-B9C5-61517FEA520F}" type="pres">
      <dgm:prSet presAssocID="{8DEBF728-6003-4171-B3DF-13F16DE6E10C}" presName="compositeNode" presStyleCnt="0"/>
      <dgm:spPr/>
    </dgm:pt>
    <dgm:pt modelId="{9B1A90AB-2D4E-43B6-AA5F-9AA7632E7666}" type="pres">
      <dgm:prSet presAssocID="{8DEBF728-6003-4171-B3DF-13F16DE6E10C}" presName="parTx" presStyleLbl="node1" presStyleIdx="0" presStyleCnt="0">
        <dgm:presLayoutVars>
          <dgm:chMax val="0"/>
          <dgm:chPref val="0"/>
          <dgm:bulletEnabled val="1"/>
        </dgm:presLayoutVars>
      </dgm:prSet>
      <dgm:spPr/>
    </dgm:pt>
    <dgm:pt modelId="{6CE66EC8-2AFC-4DA1-A023-0BDB0C64FB1A}" type="pres">
      <dgm:prSet presAssocID="{8DEBF728-6003-4171-B3DF-13F16DE6E10C}" presName="parSh" presStyleCnt="0"/>
      <dgm:spPr/>
    </dgm:pt>
    <dgm:pt modelId="{532342A5-C2D6-45AE-A80B-2035FDD6726A}" type="pres">
      <dgm:prSet presAssocID="{8DEBF728-6003-4171-B3DF-13F16DE6E10C}" presName="lineNode" presStyleLbl="alignAccFollowNode1" presStyleIdx="3" presStyleCnt="12"/>
      <dgm:spPr/>
    </dgm:pt>
    <dgm:pt modelId="{4310F074-381D-4F64-A4BD-5CF36F205629}" type="pres">
      <dgm:prSet presAssocID="{8DEBF728-6003-4171-B3DF-13F16DE6E10C}" presName="lineArrowNode" presStyleLbl="alignAccFollowNode1" presStyleIdx="4" presStyleCnt="12"/>
      <dgm:spPr/>
    </dgm:pt>
    <dgm:pt modelId="{67FE8937-0939-42F9-8CC9-217D94E69F02}" type="pres">
      <dgm:prSet presAssocID="{BF8B2E9C-4A2C-4C35-BBEC-6ADACC018A75}" presName="sibTransNodeCircle" presStyleLbl="alignNode1" presStyleIdx="1" presStyleCnt="4">
        <dgm:presLayoutVars>
          <dgm:chMax val="0"/>
          <dgm:bulletEnabled/>
        </dgm:presLayoutVars>
      </dgm:prSet>
      <dgm:spPr/>
    </dgm:pt>
    <dgm:pt modelId="{81233702-101A-4184-8D9C-EDCBA9EE3D32}" type="pres">
      <dgm:prSet presAssocID="{BF8B2E9C-4A2C-4C35-BBEC-6ADACC018A75}" presName="spacerBetweenCircleAndCallout" presStyleCnt="0">
        <dgm:presLayoutVars/>
      </dgm:prSet>
      <dgm:spPr/>
    </dgm:pt>
    <dgm:pt modelId="{2F6F9E24-AB1B-43F6-B7EE-6D67E8D36A80}" type="pres">
      <dgm:prSet presAssocID="{8DEBF728-6003-4171-B3DF-13F16DE6E10C}" presName="nodeText" presStyleLbl="alignAccFollowNode1" presStyleIdx="5" presStyleCnt="12">
        <dgm:presLayoutVars>
          <dgm:bulletEnabled val="1"/>
        </dgm:presLayoutVars>
      </dgm:prSet>
      <dgm:spPr/>
    </dgm:pt>
    <dgm:pt modelId="{553AA14F-D95A-46DB-AD85-888C15FC6FF2}" type="pres">
      <dgm:prSet presAssocID="{BF8B2E9C-4A2C-4C35-BBEC-6ADACC018A75}" presName="sibTransComposite" presStyleCnt="0"/>
      <dgm:spPr/>
    </dgm:pt>
    <dgm:pt modelId="{7D95A875-632D-49F2-9D9E-D07BC827FB9E}" type="pres">
      <dgm:prSet presAssocID="{55C7B347-A037-4837-8A66-1B205641D968}" presName="compositeNode" presStyleCnt="0"/>
      <dgm:spPr/>
    </dgm:pt>
    <dgm:pt modelId="{27F22802-2612-42E7-9BB1-E5A47FFE7290}" type="pres">
      <dgm:prSet presAssocID="{55C7B347-A037-4837-8A66-1B205641D968}" presName="parTx" presStyleLbl="node1" presStyleIdx="0" presStyleCnt="0">
        <dgm:presLayoutVars>
          <dgm:chMax val="0"/>
          <dgm:chPref val="0"/>
          <dgm:bulletEnabled val="1"/>
        </dgm:presLayoutVars>
      </dgm:prSet>
      <dgm:spPr/>
    </dgm:pt>
    <dgm:pt modelId="{8EC3CA22-35D8-4885-89CE-45E2A3632485}" type="pres">
      <dgm:prSet presAssocID="{55C7B347-A037-4837-8A66-1B205641D968}" presName="parSh" presStyleCnt="0"/>
      <dgm:spPr/>
    </dgm:pt>
    <dgm:pt modelId="{0C18A599-53E6-41A4-8CF6-18D261CE5671}" type="pres">
      <dgm:prSet presAssocID="{55C7B347-A037-4837-8A66-1B205641D968}" presName="lineNode" presStyleLbl="alignAccFollowNode1" presStyleIdx="6" presStyleCnt="12"/>
      <dgm:spPr/>
    </dgm:pt>
    <dgm:pt modelId="{EBAA590E-552A-4C24-960E-CC35C613CE64}" type="pres">
      <dgm:prSet presAssocID="{55C7B347-A037-4837-8A66-1B205641D968}" presName="lineArrowNode" presStyleLbl="alignAccFollowNode1" presStyleIdx="7" presStyleCnt="12"/>
      <dgm:spPr/>
    </dgm:pt>
    <dgm:pt modelId="{84DC29AA-23D2-4F52-8987-3C35D1678CD0}" type="pres">
      <dgm:prSet presAssocID="{56922A55-9944-42E4-A677-BC52AFD5094B}" presName="sibTransNodeCircle" presStyleLbl="alignNode1" presStyleIdx="2" presStyleCnt="4">
        <dgm:presLayoutVars>
          <dgm:chMax val="0"/>
          <dgm:bulletEnabled/>
        </dgm:presLayoutVars>
      </dgm:prSet>
      <dgm:spPr/>
    </dgm:pt>
    <dgm:pt modelId="{7BCB0B00-BB35-43F7-ABEF-ADB6342D4401}" type="pres">
      <dgm:prSet presAssocID="{56922A55-9944-42E4-A677-BC52AFD5094B}" presName="spacerBetweenCircleAndCallout" presStyleCnt="0">
        <dgm:presLayoutVars/>
      </dgm:prSet>
      <dgm:spPr/>
    </dgm:pt>
    <dgm:pt modelId="{053BAE7E-A75F-4C6A-9ED3-9FD03710B866}" type="pres">
      <dgm:prSet presAssocID="{55C7B347-A037-4837-8A66-1B205641D968}" presName="nodeText" presStyleLbl="alignAccFollowNode1" presStyleIdx="8" presStyleCnt="12">
        <dgm:presLayoutVars>
          <dgm:bulletEnabled val="1"/>
        </dgm:presLayoutVars>
      </dgm:prSet>
      <dgm:spPr/>
    </dgm:pt>
    <dgm:pt modelId="{61410C6B-1D1E-43A3-99F6-9937E82A36B9}" type="pres">
      <dgm:prSet presAssocID="{56922A55-9944-42E4-A677-BC52AFD5094B}" presName="sibTransComposite" presStyleCnt="0"/>
      <dgm:spPr/>
    </dgm:pt>
    <dgm:pt modelId="{F5D6D07E-165A-4563-87E0-FBD0C7150737}" type="pres">
      <dgm:prSet presAssocID="{322DF19F-A1F6-4781-9F7A-E9F42A0A145B}" presName="compositeNode" presStyleCnt="0"/>
      <dgm:spPr/>
    </dgm:pt>
    <dgm:pt modelId="{93F924AC-657D-48C9-A3BD-5F392B84A0D2}" type="pres">
      <dgm:prSet presAssocID="{322DF19F-A1F6-4781-9F7A-E9F42A0A145B}" presName="parTx" presStyleLbl="node1" presStyleIdx="0" presStyleCnt="0">
        <dgm:presLayoutVars>
          <dgm:chMax val="0"/>
          <dgm:chPref val="0"/>
          <dgm:bulletEnabled val="1"/>
        </dgm:presLayoutVars>
      </dgm:prSet>
      <dgm:spPr/>
    </dgm:pt>
    <dgm:pt modelId="{D1287D3D-0186-41AC-9BFB-E3014C6F2A0C}" type="pres">
      <dgm:prSet presAssocID="{322DF19F-A1F6-4781-9F7A-E9F42A0A145B}" presName="parSh" presStyleCnt="0"/>
      <dgm:spPr/>
    </dgm:pt>
    <dgm:pt modelId="{541B1AC1-E0D8-4DA3-9693-AF574AD410C7}" type="pres">
      <dgm:prSet presAssocID="{322DF19F-A1F6-4781-9F7A-E9F42A0A145B}" presName="lineNode" presStyleLbl="alignAccFollowNode1" presStyleIdx="9" presStyleCnt="12"/>
      <dgm:spPr/>
    </dgm:pt>
    <dgm:pt modelId="{8F12B39A-156E-4142-89BA-5363EFDDDE7A}" type="pres">
      <dgm:prSet presAssocID="{322DF19F-A1F6-4781-9F7A-E9F42A0A145B}" presName="lineArrowNode" presStyleLbl="alignAccFollowNode1" presStyleIdx="10" presStyleCnt="12"/>
      <dgm:spPr/>
    </dgm:pt>
    <dgm:pt modelId="{F59BFEEC-CBFC-42E7-AC37-54ED890E9A63}" type="pres">
      <dgm:prSet presAssocID="{244ECE5C-57CA-4674-B1CF-A13D0821A693}" presName="sibTransNodeCircle" presStyleLbl="alignNode1" presStyleIdx="3" presStyleCnt="4">
        <dgm:presLayoutVars>
          <dgm:chMax val="0"/>
          <dgm:bulletEnabled/>
        </dgm:presLayoutVars>
      </dgm:prSet>
      <dgm:spPr/>
    </dgm:pt>
    <dgm:pt modelId="{8014DA9C-25BF-4772-B4E8-9D8090C56767}" type="pres">
      <dgm:prSet presAssocID="{244ECE5C-57CA-4674-B1CF-A13D0821A693}" presName="spacerBetweenCircleAndCallout" presStyleCnt="0">
        <dgm:presLayoutVars/>
      </dgm:prSet>
      <dgm:spPr/>
    </dgm:pt>
    <dgm:pt modelId="{193D835A-B190-4097-BB37-EBD8EFCA5B58}" type="pres">
      <dgm:prSet presAssocID="{322DF19F-A1F6-4781-9F7A-E9F42A0A145B}" presName="nodeText" presStyleLbl="alignAccFollowNode1" presStyleIdx="11" presStyleCnt="12">
        <dgm:presLayoutVars>
          <dgm:bulletEnabled val="1"/>
        </dgm:presLayoutVars>
      </dgm:prSet>
      <dgm:spPr/>
    </dgm:pt>
  </dgm:ptLst>
  <dgm:cxnLst>
    <dgm:cxn modelId="{1734ED06-B46B-4114-8EC8-176D35D57961}" srcId="{E5430044-564E-457D-975A-AFE0A6AF9003}" destId="{34725228-3AB7-49A0-86F1-FF3E10C8D61E}" srcOrd="0" destOrd="0" parTransId="{0B4DBB55-6533-409D-B9D8-626AA362CBE7}" sibTransId="{D6F4D23E-022C-4496-B4CF-1B9BE4C20848}"/>
    <dgm:cxn modelId="{7BF87B21-AD3C-46F2-883A-AAD6AB35E146}" type="presOf" srcId="{D6F4D23E-022C-4496-B4CF-1B9BE4C20848}" destId="{AF122252-A20A-4D52-AB98-EB6AE112FCD6}" srcOrd="0" destOrd="0" presId="urn:microsoft.com/office/officeart/2016/7/layout/LinearArrowProcessNumbered"/>
    <dgm:cxn modelId="{D2A5C02A-FA36-484B-A96B-A133B2457F8B}" srcId="{E5430044-564E-457D-975A-AFE0A6AF9003}" destId="{55C7B347-A037-4837-8A66-1B205641D968}" srcOrd="2" destOrd="0" parTransId="{6C0CE35D-F7C8-4A82-A39F-787B9EFAAD23}" sibTransId="{56922A55-9944-42E4-A677-BC52AFD5094B}"/>
    <dgm:cxn modelId="{5FF1892D-6DB1-49AA-B71B-247BABCAAC2D}" srcId="{E5430044-564E-457D-975A-AFE0A6AF9003}" destId="{322DF19F-A1F6-4781-9F7A-E9F42A0A145B}" srcOrd="3" destOrd="0" parTransId="{F7F94060-B7CB-4DC1-B0FD-9213EFC45863}" sibTransId="{244ECE5C-57CA-4674-B1CF-A13D0821A693}"/>
    <dgm:cxn modelId="{A13FBF64-61DF-490D-A1B4-DF5C47ABAB1D}" type="presOf" srcId="{244ECE5C-57CA-4674-B1CF-A13D0821A693}" destId="{F59BFEEC-CBFC-42E7-AC37-54ED890E9A63}" srcOrd="0" destOrd="0" presId="urn:microsoft.com/office/officeart/2016/7/layout/LinearArrowProcessNumbered"/>
    <dgm:cxn modelId="{DB409F6F-59F7-4E3B-B7FB-7420C2EDC427}" srcId="{E5430044-564E-457D-975A-AFE0A6AF9003}" destId="{8DEBF728-6003-4171-B3DF-13F16DE6E10C}" srcOrd="1" destOrd="0" parTransId="{85B64EEC-C82D-419A-B5C3-E1A74A9875D0}" sibTransId="{BF8B2E9C-4A2C-4C35-BBEC-6ADACC018A75}"/>
    <dgm:cxn modelId="{7B7F3D7F-4982-45D2-84E6-AFA31DB2D7DE}" type="presOf" srcId="{56922A55-9944-42E4-A677-BC52AFD5094B}" destId="{84DC29AA-23D2-4F52-8987-3C35D1678CD0}" srcOrd="0" destOrd="0" presId="urn:microsoft.com/office/officeart/2016/7/layout/LinearArrowProcessNumbered"/>
    <dgm:cxn modelId="{2B5EAE80-BE8D-4A4C-BB3F-855FFDDFCF9D}" type="presOf" srcId="{E5430044-564E-457D-975A-AFE0A6AF9003}" destId="{B32FBD78-7895-4F3F-895A-4E81CF55E756}" srcOrd="0" destOrd="0" presId="urn:microsoft.com/office/officeart/2016/7/layout/LinearArrowProcessNumbered"/>
    <dgm:cxn modelId="{078E128E-7527-41A1-960F-8D3BAF1C8BF0}" type="presOf" srcId="{8DEBF728-6003-4171-B3DF-13F16DE6E10C}" destId="{2F6F9E24-AB1B-43F6-B7EE-6D67E8D36A80}" srcOrd="0" destOrd="0" presId="urn:microsoft.com/office/officeart/2016/7/layout/LinearArrowProcessNumbered"/>
    <dgm:cxn modelId="{FF0A209D-DDE7-4854-88FA-8DFCE49AF0EF}" type="presOf" srcId="{322DF19F-A1F6-4781-9F7A-E9F42A0A145B}" destId="{193D835A-B190-4097-BB37-EBD8EFCA5B58}" srcOrd="0" destOrd="0" presId="urn:microsoft.com/office/officeart/2016/7/layout/LinearArrowProcessNumbered"/>
    <dgm:cxn modelId="{D880589D-FCC2-4063-87B9-D20032707A00}" type="presOf" srcId="{55C7B347-A037-4837-8A66-1B205641D968}" destId="{053BAE7E-A75F-4C6A-9ED3-9FD03710B866}" srcOrd="0" destOrd="0" presId="urn:microsoft.com/office/officeart/2016/7/layout/LinearArrowProcessNumbered"/>
    <dgm:cxn modelId="{79E93FE1-F56A-42B8-9413-0BB74D504E31}" type="presOf" srcId="{34725228-3AB7-49A0-86F1-FF3E10C8D61E}" destId="{93BCEE63-2FF6-480C-8FCD-64418A85F710}" srcOrd="0" destOrd="0" presId="urn:microsoft.com/office/officeart/2016/7/layout/LinearArrowProcessNumbered"/>
    <dgm:cxn modelId="{B3DD4EF8-72C9-4790-98C9-18379E509B1B}" type="presOf" srcId="{BF8B2E9C-4A2C-4C35-BBEC-6ADACC018A75}" destId="{67FE8937-0939-42F9-8CC9-217D94E69F02}" srcOrd="0" destOrd="0" presId="urn:microsoft.com/office/officeart/2016/7/layout/LinearArrowProcessNumbered"/>
    <dgm:cxn modelId="{86ACF9E8-8EA7-4630-9EEE-5CECCF7AFA46}" type="presParOf" srcId="{B32FBD78-7895-4F3F-895A-4E81CF55E756}" destId="{85883C6A-67E1-4E66-99FC-B47CDEC8B8DF}" srcOrd="0" destOrd="0" presId="urn:microsoft.com/office/officeart/2016/7/layout/LinearArrowProcessNumbered"/>
    <dgm:cxn modelId="{6AA84C5A-85E4-4450-96E4-53D6EAF49EC9}" type="presParOf" srcId="{85883C6A-67E1-4E66-99FC-B47CDEC8B8DF}" destId="{B83B6E46-7DCB-4389-B444-F3355CC02233}" srcOrd="0" destOrd="0" presId="urn:microsoft.com/office/officeart/2016/7/layout/LinearArrowProcessNumbered"/>
    <dgm:cxn modelId="{5B1BF383-0E3E-41A2-B7AB-62C79651FFE1}" type="presParOf" srcId="{85883C6A-67E1-4E66-99FC-B47CDEC8B8DF}" destId="{2C551C1C-B97E-4387-81E1-FBAAB9FF94BD}" srcOrd="1" destOrd="0" presId="urn:microsoft.com/office/officeart/2016/7/layout/LinearArrowProcessNumbered"/>
    <dgm:cxn modelId="{2BB742C6-8866-4E38-A248-33F07E16D200}" type="presParOf" srcId="{2C551C1C-B97E-4387-81E1-FBAAB9FF94BD}" destId="{55096309-307D-419A-9FDE-45C362E45B26}" srcOrd="0" destOrd="0" presId="urn:microsoft.com/office/officeart/2016/7/layout/LinearArrowProcessNumbered"/>
    <dgm:cxn modelId="{FC0D0641-E4D7-47CF-AF1E-8C98D2B46C75}" type="presParOf" srcId="{2C551C1C-B97E-4387-81E1-FBAAB9FF94BD}" destId="{88C87A3B-BA36-46F8-9130-B0EDBA391AA1}" srcOrd="1" destOrd="0" presId="urn:microsoft.com/office/officeart/2016/7/layout/LinearArrowProcessNumbered"/>
    <dgm:cxn modelId="{4B3685B2-8961-4695-8589-6AB4FC0CE96B}" type="presParOf" srcId="{2C551C1C-B97E-4387-81E1-FBAAB9FF94BD}" destId="{AF122252-A20A-4D52-AB98-EB6AE112FCD6}" srcOrd="2" destOrd="0" presId="urn:microsoft.com/office/officeart/2016/7/layout/LinearArrowProcessNumbered"/>
    <dgm:cxn modelId="{1673E626-44B6-4B29-A823-8D7D828561F2}" type="presParOf" srcId="{2C551C1C-B97E-4387-81E1-FBAAB9FF94BD}" destId="{11F3B753-7C59-4A01-A481-07CB6D4D5C26}" srcOrd="3" destOrd="0" presId="urn:microsoft.com/office/officeart/2016/7/layout/LinearArrowProcessNumbered"/>
    <dgm:cxn modelId="{061D4623-BF38-4CDA-8831-55CE7388AFCF}" type="presParOf" srcId="{85883C6A-67E1-4E66-99FC-B47CDEC8B8DF}" destId="{93BCEE63-2FF6-480C-8FCD-64418A85F710}" srcOrd="2" destOrd="0" presId="urn:microsoft.com/office/officeart/2016/7/layout/LinearArrowProcessNumbered"/>
    <dgm:cxn modelId="{AE5D01A1-86ED-4BF0-8E86-A19E6399A56D}" type="presParOf" srcId="{B32FBD78-7895-4F3F-895A-4E81CF55E756}" destId="{EA0D787F-EC43-4AD7-A98D-6D7584B62710}" srcOrd="1" destOrd="0" presId="urn:microsoft.com/office/officeart/2016/7/layout/LinearArrowProcessNumbered"/>
    <dgm:cxn modelId="{56D7F97F-91ED-4321-819B-340624983CEC}" type="presParOf" srcId="{B32FBD78-7895-4F3F-895A-4E81CF55E756}" destId="{270C2ABD-02FE-41B3-B9C5-61517FEA520F}" srcOrd="2" destOrd="0" presId="urn:microsoft.com/office/officeart/2016/7/layout/LinearArrowProcessNumbered"/>
    <dgm:cxn modelId="{525B454B-E9D1-4448-AE50-F81C8B4F4A14}" type="presParOf" srcId="{270C2ABD-02FE-41B3-B9C5-61517FEA520F}" destId="{9B1A90AB-2D4E-43B6-AA5F-9AA7632E7666}" srcOrd="0" destOrd="0" presId="urn:microsoft.com/office/officeart/2016/7/layout/LinearArrowProcessNumbered"/>
    <dgm:cxn modelId="{131859EF-A446-4C56-A815-8B11751CDACD}" type="presParOf" srcId="{270C2ABD-02FE-41B3-B9C5-61517FEA520F}" destId="{6CE66EC8-2AFC-4DA1-A023-0BDB0C64FB1A}" srcOrd="1" destOrd="0" presId="urn:microsoft.com/office/officeart/2016/7/layout/LinearArrowProcessNumbered"/>
    <dgm:cxn modelId="{BF8504F4-0657-425E-891B-DCF2E1E52A95}" type="presParOf" srcId="{6CE66EC8-2AFC-4DA1-A023-0BDB0C64FB1A}" destId="{532342A5-C2D6-45AE-A80B-2035FDD6726A}" srcOrd="0" destOrd="0" presId="urn:microsoft.com/office/officeart/2016/7/layout/LinearArrowProcessNumbered"/>
    <dgm:cxn modelId="{190A81EC-43DF-431B-B31C-45691D54B113}" type="presParOf" srcId="{6CE66EC8-2AFC-4DA1-A023-0BDB0C64FB1A}" destId="{4310F074-381D-4F64-A4BD-5CF36F205629}" srcOrd="1" destOrd="0" presId="urn:microsoft.com/office/officeart/2016/7/layout/LinearArrowProcessNumbered"/>
    <dgm:cxn modelId="{91DC6C09-5057-4BBA-A916-76003570B086}" type="presParOf" srcId="{6CE66EC8-2AFC-4DA1-A023-0BDB0C64FB1A}" destId="{67FE8937-0939-42F9-8CC9-217D94E69F02}" srcOrd="2" destOrd="0" presId="urn:microsoft.com/office/officeart/2016/7/layout/LinearArrowProcessNumbered"/>
    <dgm:cxn modelId="{08E0F7DA-C4C2-4F7A-8B24-F7E70A1A1D41}" type="presParOf" srcId="{6CE66EC8-2AFC-4DA1-A023-0BDB0C64FB1A}" destId="{81233702-101A-4184-8D9C-EDCBA9EE3D32}" srcOrd="3" destOrd="0" presId="urn:microsoft.com/office/officeart/2016/7/layout/LinearArrowProcessNumbered"/>
    <dgm:cxn modelId="{DAC6B999-8329-41D8-857C-1A488B80871D}" type="presParOf" srcId="{270C2ABD-02FE-41B3-B9C5-61517FEA520F}" destId="{2F6F9E24-AB1B-43F6-B7EE-6D67E8D36A80}" srcOrd="2" destOrd="0" presId="urn:microsoft.com/office/officeart/2016/7/layout/LinearArrowProcessNumbered"/>
    <dgm:cxn modelId="{783449E0-BF24-4966-B562-05AAA7E40035}" type="presParOf" srcId="{B32FBD78-7895-4F3F-895A-4E81CF55E756}" destId="{553AA14F-D95A-46DB-AD85-888C15FC6FF2}" srcOrd="3" destOrd="0" presId="urn:microsoft.com/office/officeart/2016/7/layout/LinearArrowProcessNumbered"/>
    <dgm:cxn modelId="{196F5E00-6E1B-4A7E-9B0F-C7E694208283}" type="presParOf" srcId="{B32FBD78-7895-4F3F-895A-4E81CF55E756}" destId="{7D95A875-632D-49F2-9D9E-D07BC827FB9E}" srcOrd="4" destOrd="0" presId="urn:microsoft.com/office/officeart/2016/7/layout/LinearArrowProcessNumbered"/>
    <dgm:cxn modelId="{7501B5A5-D01D-43CB-99EA-775C68521E39}" type="presParOf" srcId="{7D95A875-632D-49F2-9D9E-D07BC827FB9E}" destId="{27F22802-2612-42E7-9BB1-E5A47FFE7290}" srcOrd="0" destOrd="0" presId="urn:microsoft.com/office/officeart/2016/7/layout/LinearArrowProcessNumbered"/>
    <dgm:cxn modelId="{65FE50A3-534E-4BFE-B152-9011FAD4CC61}" type="presParOf" srcId="{7D95A875-632D-49F2-9D9E-D07BC827FB9E}" destId="{8EC3CA22-35D8-4885-89CE-45E2A3632485}" srcOrd="1" destOrd="0" presId="urn:microsoft.com/office/officeart/2016/7/layout/LinearArrowProcessNumbered"/>
    <dgm:cxn modelId="{1A258F1C-5AED-48EA-9FEA-5A1C2403CBF6}" type="presParOf" srcId="{8EC3CA22-35D8-4885-89CE-45E2A3632485}" destId="{0C18A599-53E6-41A4-8CF6-18D261CE5671}" srcOrd="0" destOrd="0" presId="urn:microsoft.com/office/officeart/2016/7/layout/LinearArrowProcessNumbered"/>
    <dgm:cxn modelId="{410CF706-EF59-4C77-B278-C1A692AD1120}" type="presParOf" srcId="{8EC3CA22-35D8-4885-89CE-45E2A3632485}" destId="{EBAA590E-552A-4C24-960E-CC35C613CE64}" srcOrd="1" destOrd="0" presId="urn:microsoft.com/office/officeart/2016/7/layout/LinearArrowProcessNumbered"/>
    <dgm:cxn modelId="{0FF027DF-0DDE-49A6-9D04-33EEB28CD0C7}" type="presParOf" srcId="{8EC3CA22-35D8-4885-89CE-45E2A3632485}" destId="{84DC29AA-23D2-4F52-8987-3C35D1678CD0}" srcOrd="2" destOrd="0" presId="urn:microsoft.com/office/officeart/2016/7/layout/LinearArrowProcessNumbered"/>
    <dgm:cxn modelId="{6C3D0762-7AC2-476F-AD3E-4B204FE5256C}" type="presParOf" srcId="{8EC3CA22-35D8-4885-89CE-45E2A3632485}" destId="{7BCB0B00-BB35-43F7-ABEF-ADB6342D4401}" srcOrd="3" destOrd="0" presId="urn:microsoft.com/office/officeart/2016/7/layout/LinearArrowProcessNumbered"/>
    <dgm:cxn modelId="{F49692EB-9A8C-4171-82DF-3728BDDBAE70}" type="presParOf" srcId="{7D95A875-632D-49F2-9D9E-D07BC827FB9E}" destId="{053BAE7E-A75F-4C6A-9ED3-9FD03710B866}" srcOrd="2" destOrd="0" presId="urn:microsoft.com/office/officeart/2016/7/layout/LinearArrowProcessNumbered"/>
    <dgm:cxn modelId="{64E9BB50-5679-48D8-81BC-FB674267D037}" type="presParOf" srcId="{B32FBD78-7895-4F3F-895A-4E81CF55E756}" destId="{61410C6B-1D1E-43A3-99F6-9937E82A36B9}" srcOrd="5" destOrd="0" presId="urn:microsoft.com/office/officeart/2016/7/layout/LinearArrowProcessNumbered"/>
    <dgm:cxn modelId="{69BCFACB-9629-4D08-AB25-B86F374CF109}" type="presParOf" srcId="{B32FBD78-7895-4F3F-895A-4E81CF55E756}" destId="{F5D6D07E-165A-4563-87E0-FBD0C7150737}" srcOrd="6" destOrd="0" presId="urn:microsoft.com/office/officeart/2016/7/layout/LinearArrowProcessNumbered"/>
    <dgm:cxn modelId="{EAAC4B6D-AB69-4CA6-A3D3-832BD85D9300}" type="presParOf" srcId="{F5D6D07E-165A-4563-87E0-FBD0C7150737}" destId="{93F924AC-657D-48C9-A3BD-5F392B84A0D2}" srcOrd="0" destOrd="0" presId="urn:microsoft.com/office/officeart/2016/7/layout/LinearArrowProcessNumbered"/>
    <dgm:cxn modelId="{5E96F136-D3BE-49D1-8473-FC4396F5E4E9}" type="presParOf" srcId="{F5D6D07E-165A-4563-87E0-FBD0C7150737}" destId="{D1287D3D-0186-41AC-9BFB-E3014C6F2A0C}" srcOrd="1" destOrd="0" presId="urn:microsoft.com/office/officeart/2016/7/layout/LinearArrowProcessNumbered"/>
    <dgm:cxn modelId="{883F7601-4127-4BF4-82AA-5253FD83BD61}" type="presParOf" srcId="{D1287D3D-0186-41AC-9BFB-E3014C6F2A0C}" destId="{541B1AC1-E0D8-4DA3-9693-AF574AD410C7}" srcOrd="0" destOrd="0" presId="urn:microsoft.com/office/officeart/2016/7/layout/LinearArrowProcessNumbered"/>
    <dgm:cxn modelId="{C3ECA6DE-236E-40F8-97C9-0E13FF718D1E}" type="presParOf" srcId="{D1287D3D-0186-41AC-9BFB-E3014C6F2A0C}" destId="{8F12B39A-156E-4142-89BA-5363EFDDDE7A}" srcOrd="1" destOrd="0" presId="urn:microsoft.com/office/officeart/2016/7/layout/LinearArrowProcessNumbered"/>
    <dgm:cxn modelId="{5280EB5F-D60C-4F94-BA94-ADE18FDCE41E}" type="presParOf" srcId="{D1287D3D-0186-41AC-9BFB-E3014C6F2A0C}" destId="{F59BFEEC-CBFC-42E7-AC37-54ED890E9A63}" srcOrd="2" destOrd="0" presId="urn:microsoft.com/office/officeart/2016/7/layout/LinearArrowProcessNumbered"/>
    <dgm:cxn modelId="{7727EA3C-3547-4D33-A1C7-5FF7379D0BEF}" type="presParOf" srcId="{D1287D3D-0186-41AC-9BFB-E3014C6F2A0C}" destId="{8014DA9C-25BF-4772-B4E8-9D8090C56767}" srcOrd="3" destOrd="0" presId="urn:microsoft.com/office/officeart/2016/7/layout/LinearArrowProcessNumbered"/>
    <dgm:cxn modelId="{AD6D6AB3-E4E7-4DE2-A4AB-C0A63DDC90DC}" type="presParOf" srcId="{F5D6D07E-165A-4563-87E0-FBD0C7150737}" destId="{193D835A-B190-4097-BB37-EBD8EFCA5B58}"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D18301-54A6-4D9F-9E1C-020EEFF69F0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C66CA87-8327-468B-BB10-C014C1DED6D9}">
      <dgm:prSet/>
      <dgm:spPr/>
      <dgm:t>
        <a:bodyPr/>
        <a:lstStyle/>
        <a:p>
          <a:r>
            <a:rPr lang="en-US" baseline="0" dirty="0"/>
            <a:t>Blocks products from purchase in public marketplace (exceptions: of Microsoft published and endorsed Linux distributions)</a:t>
          </a:r>
          <a:endParaRPr lang="en-US" dirty="0"/>
        </a:p>
      </dgm:t>
    </dgm:pt>
    <dgm:pt modelId="{EAC8C7B4-5BF5-421F-9078-3BBDA8CA74A2}" type="parTrans" cxnId="{E0362C47-D760-4B1F-B2C4-7C7692559D98}">
      <dgm:prSet/>
      <dgm:spPr/>
      <dgm:t>
        <a:bodyPr/>
        <a:lstStyle/>
        <a:p>
          <a:endParaRPr lang="en-US"/>
        </a:p>
      </dgm:t>
    </dgm:pt>
    <dgm:pt modelId="{9149130B-8793-4396-A8F0-76004754F94A}" type="sibTrans" cxnId="{E0362C47-D760-4B1F-B2C4-7C7692559D98}">
      <dgm:prSet/>
      <dgm:spPr/>
      <dgm:t>
        <a:bodyPr/>
        <a:lstStyle/>
        <a:p>
          <a:endParaRPr lang="en-US"/>
        </a:p>
      </dgm:t>
    </dgm:pt>
    <dgm:pt modelId="{095E1885-0302-4B8D-AA0A-0C82C915876C}">
      <dgm:prSet/>
      <dgm:spPr/>
      <dgm:t>
        <a:bodyPr/>
        <a:lstStyle/>
        <a:p>
          <a:r>
            <a:rPr lang="en-US" baseline="0"/>
            <a:t>Users submit requests to add a product to the allowlist</a:t>
          </a:r>
          <a:endParaRPr lang="en-US"/>
        </a:p>
      </dgm:t>
    </dgm:pt>
    <dgm:pt modelId="{D7D9FFE1-73FD-4E12-BD8F-0758DBDBCA15}" type="parTrans" cxnId="{F696DC92-A9A6-4BB3-BCF3-443CC02B656D}">
      <dgm:prSet/>
      <dgm:spPr/>
      <dgm:t>
        <a:bodyPr/>
        <a:lstStyle/>
        <a:p>
          <a:endParaRPr lang="en-US"/>
        </a:p>
      </dgm:t>
    </dgm:pt>
    <dgm:pt modelId="{73E6F1A2-F736-4D7F-8865-641CB4885244}" type="sibTrans" cxnId="{F696DC92-A9A6-4BB3-BCF3-443CC02B656D}">
      <dgm:prSet/>
      <dgm:spPr/>
      <dgm:t>
        <a:bodyPr/>
        <a:lstStyle/>
        <a:p>
          <a:endParaRPr lang="en-US"/>
        </a:p>
      </dgm:t>
    </dgm:pt>
    <dgm:pt modelId="{C42C5D04-3DCD-4089-91D3-23BD192463CC}">
      <dgm:prSet/>
      <dgm:spPr/>
      <dgm:t>
        <a:bodyPr/>
        <a:lstStyle/>
        <a:p>
          <a:r>
            <a:rPr lang="en-US" baseline="0"/>
            <a:t>Marketplace administrator has authority to approve request</a:t>
          </a:r>
          <a:endParaRPr lang="en-US"/>
        </a:p>
      </dgm:t>
    </dgm:pt>
    <dgm:pt modelId="{6C132A7B-6CB0-4118-9619-2E4693B7CDB6}" type="parTrans" cxnId="{72EE663C-DBE1-4F82-9783-DD784A28284F}">
      <dgm:prSet/>
      <dgm:spPr/>
      <dgm:t>
        <a:bodyPr/>
        <a:lstStyle/>
        <a:p>
          <a:endParaRPr lang="en-US"/>
        </a:p>
      </dgm:t>
    </dgm:pt>
    <dgm:pt modelId="{4D0EAB66-3613-4956-A261-DD2FBCF19803}" type="sibTrans" cxnId="{72EE663C-DBE1-4F82-9783-DD784A28284F}">
      <dgm:prSet/>
      <dgm:spPr/>
      <dgm:t>
        <a:bodyPr/>
        <a:lstStyle/>
        <a:p>
          <a:endParaRPr lang="en-US"/>
        </a:p>
      </dgm:t>
    </dgm:pt>
    <dgm:pt modelId="{21614C71-2129-4E94-AA85-38275030D74B}">
      <dgm:prSet/>
      <dgm:spPr/>
      <dgm:t>
        <a:bodyPr/>
        <a:lstStyle/>
        <a:p>
          <a:r>
            <a:rPr lang="en-US" baseline="0"/>
            <a:t>Private offers can be automatically enabled, if configured to</a:t>
          </a:r>
          <a:endParaRPr lang="en-US"/>
        </a:p>
      </dgm:t>
    </dgm:pt>
    <dgm:pt modelId="{4EA00041-6060-4398-8E1D-D02689F050B6}" type="parTrans" cxnId="{42CA3C12-A7B5-4A5F-8288-35542AF64A49}">
      <dgm:prSet/>
      <dgm:spPr/>
      <dgm:t>
        <a:bodyPr/>
        <a:lstStyle/>
        <a:p>
          <a:endParaRPr lang="en-US"/>
        </a:p>
      </dgm:t>
    </dgm:pt>
    <dgm:pt modelId="{4E35D39C-BA92-483F-84AD-96A7B7ED05EA}" type="sibTrans" cxnId="{42CA3C12-A7B5-4A5F-8288-35542AF64A49}">
      <dgm:prSet/>
      <dgm:spPr/>
      <dgm:t>
        <a:bodyPr/>
        <a:lstStyle/>
        <a:p>
          <a:endParaRPr lang="en-US"/>
        </a:p>
      </dgm:t>
    </dgm:pt>
    <dgm:pt modelId="{4E273EAA-5A7C-4F54-AA0C-4CF1E19B2FBF}" type="pres">
      <dgm:prSet presAssocID="{A6D18301-54A6-4D9F-9E1C-020EEFF69F07}" presName="vert0" presStyleCnt="0">
        <dgm:presLayoutVars>
          <dgm:dir/>
          <dgm:animOne val="branch"/>
          <dgm:animLvl val="lvl"/>
        </dgm:presLayoutVars>
      </dgm:prSet>
      <dgm:spPr/>
    </dgm:pt>
    <dgm:pt modelId="{B0DBE902-140E-43C4-8CAE-B7EB3D2A7223}" type="pres">
      <dgm:prSet presAssocID="{DC66CA87-8327-468B-BB10-C014C1DED6D9}" presName="thickLine" presStyleLbl="alignNode1" presStyleIdx="0" presStyleCnt="4"/>
      <dgm:spPr/>
    </dgm:pt>
    <dgm:pt modelId="{AEA5C804-D5A4-4653-AA4C-B5BEF8724A56}" type="pres">
      <dgm:prSet presAssocID="{DC66CA87-8327-468B-BB10-C014C1DED6D9}" presName="horz1" presStyleCnt="0"/>
      <dgm:spPr/>
    </dgm:pt>
    <dgm:pt modelId="{E562DAD4-9FDC-45A9-9AE3-78751362B493}" type="pres">
      <dgm:prSet presAssocID="{DC66CA87-8327-468B-BB10-C014C1DED6D9}" presName="tx1" presStyleLbl="revTx" presStyleIdx="0" presStyleCnt="4"/>
      <dgm:spPr/>
    </dgm:pt>
    <dgm:pt modelId="{8C6B8F8C-C103-4E28-ABA3-8798AF443699}" type="pres">
      <dgm:prSet presAssocID="{DC66CA87-8327-468B-BB10-C014C1DED6D9}" presName="vert1" presStyleCnt="0"/>
      <dgm:spPr/>
    </dgm:pt>
    <dgm:pt modelId="{8EF03BD3-77B9-47AC-A999-C8C8C4C9C185}" type="pres">
      <dgm:prSet presAssocID="{095E1885-0302-4B8D-AA0A-0C82C915876C}" presName="thickLine" presStyleLbl="alignNode1" presStyleIdx="1" presStyleCnt="4"/>
      <dgm:spPr/>
    </dgm:pt>
    <dgm:pt modelId="{43F04D26-14D7-4B68-9720-4BC7F966F825}" type="pres">
      <dgm:prSet presAssocID="{095E1885-0302-4B8D-AA0A-0C82C915876C}" presName="horz1" presStyleCnt="0"/>
      <dgm:spPr/>
    </dgm:pt>
    <dgm:pt modelId="{8D0B2B12-A86F-44B5-85E0-CE99A74E8F85}" type="pres">
      <dgm:prSet presAssocID="{095E1885-0302-4B8D-AA0A-0C82C915876C}" presName="tx1" presStyleLbl="revTx" presStyleIdx="1" presStyleCnt="4"/>
      <dgm:spPr/>
    </dgm:pt>
    <dgm:pt modelId="{A84AF0EB-C4A7-4633-87AB-E3B556FEF417}" type="pres">
      <dgm:prSet presAssocID="{095E1885-0302-4B8D-AA0A-0C82C915876C}" presName="vert1" presStyleCnt="0"/>
      <dgm:spPr/>
    </dgm:pt>
    <dgm:pt modelId="{8398ADA1-D379-4DD1-8756-E9B8F775C25C}" type="pres">
      <dgm:prSet presAssocID="{C42C5D04-3DCD-4089-91D3-23BD192463CC}" presName="thickLine" presStyleLbl="alignNode1" presStyleIdx="2" presStyleCnt="4"/>
      <dgm:spPr/>
    </dgm:pt>
    <dgm:pt modelId="{EB49AD75-FB49-444D-8748-C35213DA4AA1}" type="pres">
      <dgm:prSet presAssocID="{C42C5D04-3DCD-4089-91D3-23BD192463CC}" presName="horz1" presStyleCnt="0"/>
      <dgm:spPr/>
    </dgm:pt>
    <dgm:pt modelId="{2797FAB6-F0C4-43DC-B314-AEBAAEFBC348}" type="pres">
      <dgm:prSet presAssocID="{C42C5D04-3DCD-4089-91D3-23BD192463CC}" presName="tx1" presStyleLbl="revTx" presStyleIdx="2" presStyleCnt="4"/>
      <dgm:spPr/>
    </dgm:pt>
    <dgm:pt modelId="{19657FB0-4802-4049-B479-777203F3EB30}" type="pres">
      <dgm:prSet presAssocID="{C42C5D04-3DCD-4089-91D3-23BD192463CC}" presName="vert1" presStyleCnt="0"/>
      <dgm:spPr/>
    </dgm:pt>
    <dgm:pt modelId="{CB3FE173-EA37-4B0F-AE25-C7F4DEE94519}" type="pres">
      <dgm:prSet presAssocID="{21614C71-2129-4E94-AA85-38275030D74B}" presName="thickLine" presStyleLbl="alignNode1" presStyleIdx="3" presStyleCnt="4"/>
      <dgm:spPr/>
    </dgm:pt>
    <dgm:pt modelId="{0041568D-DECE-4400-9A7F-5646F1E7DA99}" type="pres">
      <dgm:prSet presAssocID="{21614C71-2129-4E94-AA85-38275030D74B}" presName="horz1" presStyleCnt="0"/>
      <dgm:spPr/>
    </dgm:pt>
    <dgm:pt modelId="{7ED721C8-F77C-4A91-857C-106EBAF30D3C}" type="pres">
      <dgm:prSet presAssocID="{21614C71-2129-4E94-AA85-38275030D74B}" presName="tx1" presStyleLbl="revTx" presStyleIdx="3" presStyleCnt="4"/>
      <dgm:spPr/>
    </dgm:pt>
    <dgm:pt modelId="{B47A6A5C-004B-4BFA-BA52-CED7BBCBC46E}" type="pres">
      <dgm:prSet presAssocID="{21614C71-2129-4E94-AA85-38275030D74B}" presName="vert1" presStyleCnt="0"/>
      <dgm:spPr/>
    </dgm:pt>
  </dgm:ptLst>
  <dgm:cxnLst>
    <dgm:cxn modelId="{1882C207-5529-4D54-92AA-AEDDB3BB75F4}" type="presOf" srcId="{C42C5D04-3DCD-4089-91D3-23BD192463CC}" destId="{2797FAB6-F0C4-43DC-B314-AEBAAEFBC348}" srcOrd="0" destOrd="0" presId="urn:microsoft.com/office/officeart/2008/layout/LinedList"/>
    <dgm:cxn modelId="{42CA3C12-A7B5-4A5F-8288-35542AF64A49}" srcId="{A6D18301-54A6-4D9F-9E1C-020EEFF69F07}" destId="{21614C71-2129-4E94-AA85-38275030D74B}" srcOrd="3" destOrd="0" parTransId="{4EA00041-6060-4398-8E1D-D02689F050B6}" sibTransId="{4E35D39C-BA92-483F-84AD-96A7B7ED05EA}"/>
    <dgm:cxn modelId="{72EE663C-DBE1-4F82-9783-DD784A28284F}" srcId="{A6D18301-54A6-4D9F-9E1C-020EEFF69F07}" destId="{C42C5D04-3DCD-4089-91D3-23BD192463CC}" srcOrd="2" destOrd="0" parTransId="{6C132A7B-6CB0-4118-9619-2E4693B7CDB6}" sibTransId="{4D0EAB66-3613-4956-A261-DD2FBCF19803}"/>
    <dgm:cxn modelId="{040A915D-8BCE-4C9A-A32E-47C44CE0C44C}" type="presOf" srcId="{21614C71-2129-4E94-AA85-38275030D74B}" destId="{7ED721C8-F77C-4A91-857C-106EBAF30D3C}" srcOrd="0" destOrd="0" presId="urn:microsoft.com/office/officeart/2008/layout/LinedList"/>
    <dgm:cxn modelId="{E0362C47-D760-4B1F-B2C4-7C7692559D98}" srcId="{A6D18301-54A6-4D9F-9E1C-020EEFF69F07}" destId="{DC66CA87-8327-468B-BB10-C014C1DED6D9}" srcOrd="0" destOrd="0" parTransId="{EAC8C7B4-5BF5-421F-9078-3BBDA8CA74A2}" sibTransId="{9149130B-8793-4396-A8F0-76004754F94A}"/>
    <dgm:cxn modelId="{F696DC92-A9A6-4BB3-BCF3-443CC02B656D}" srcId="{A6D18301-54A6-4D9F-9E1C-020EEFF69F07}" destId="{095E1885-0302-4B8D-AA0A-0C82C915876C}" srcOrd="1" destOrd="0" parTransId="{D7D9FFE1-73FD-4E12-BD8F-0758DBDBCA15}" sibTransId="{73E6F1A2-F736-4D7F-8865-641CB4885244}"/>
    <dgm:cxn modelId="{21A75FA0-6B8D-4895-9E6E-5E02E27C216F}" type="presOf" srcId="{DC66CA87-8327-468B-BB10-C014C1DED6D9}" destId="{E562DAD4-9FDC-45A9-9AE3-78751362B493}" srcOrd="0" destOrd="0" presId="urn:microsoft.com/office/officeart/2008/layout/LinedList"/>
    <dgm:cxn modelId="{0555C7D6-E341-4679-91DD-2E0560B03014}" type="presOf" srcId="{A6D18301-54A6-4D9F-9E1C-020EEFF69F07}" destId="{4E273EAA-5A7C-4F54-AA0C-4CF1E19B2FBF}" srcOrd="0" destOrd="0" presId="urn:microsoft.com/office/officeart/2008/layout/LinedList"/>
    <dgm:cxn modelId="{148D73E7-27A3-4958-877A-C8B346B75F47}" type="presOf" srcId="{095E1885-0302-4B8D-AA0A-0C82C915876C}" destId="{8D0B2B12-A86F-44B5-85E0-CE99A74E8F85}" srcOrd="0" destOrd="0" presId="urn:microsoft.com/office/officeart/2008/layout/LinedList"/>
    <dgm:cxn modelId="{1B4AF0D9-5444-4DD5-8770-15B5CBCE2EB9}" type="presParOf" srcId="{4E273EAA-5A7C-4F54-AA0C-4CF1E19B2FBF}" destId="{B0DBE902-140E-43C4-8CAE-B7EB3D2A7223}" srcOrd="0" destOrd="0" presId="urn:microsoft.com/office/officeart/2008/layout/LinedList"/>
    <dgm:cxn modelId="{749DA30A-9429-4F90-8901-BD5B2383AFE3}" type="presParOf" srcId="{4E273EAA-5A7C-4F54-AA0C-4CF1E19B2FBF}" destId="{AEA5C804-D5A4-4653-AA4C-B5BEF8724A56}" srcOrd="1" destOrd="0" presId="urn:microsoft.com/office/officeart/2008/layout/LinedList"/>
    <dgm:cxn modelId="{FC774594-EDB0-4B96-9E45-1F006B1B7F4C}" type="presParOf" srcId="{AEA5C804-D5A4-4653-AA4C-B5BEF8724A56}" destId="{E562DAD4-9FDC-45A9-9AE3-78751362B493}" srcOrd="0" destOrd="0" presId="urn:microsoft.com/office/officeart/2008/layout/LinedList"/>
    <dgm:cxn modelId="{3E92274C-EC2D-4604-98FE-8928D6CA3765}" type="presParOf" srcId="{AEA5C804-D5A4-4653-AA4C-B5BEF8724A56}" destId="{8C6B8F8C-C103-4E28-ABA3-8798AF443699}" srcOrd="1" destOrd="0" presId="urn:microsoft.com/office/officeart/2008/layout/LinedList"/>
    <dgm:cxn modelId="{18936467-F162-4DD9-80C1-B775901E30AD}" type="presParOf" srcId="{4E273EAA-5A7C-4F54-AA0C-4CF1E19B2FBF}" destId="{8EF03BD3-77B9-47AC-A999-C8C8C4C9C185}" srcOrd="2" destOrd="0" presId="urn:microsoft.com/office/officeart/2008/layout/LinedList"/>
    <dgm:cxn modelId="{ADDD0DD8-0756-49A7-8839-9FA6A10890BB}" type="presParOf" srcId="{4E273EAA-5A7C-4F54-AA0C-4CF1E19B2FBF}" destId="{43F04D26-14D7-4B68-9720-4BC7F966F825}" srcOrd="3" destOrd="0" presId="urn:microsoft.com/office/officeart/2008/layout/LinedList"/>
    <dgm:cxn modelId="{67E3B294-EA54-4A4E-9724-717FB0ECA16E}" type="presParOf" srcId="{43F04D26-14D7-4B68-9720-4BC7F966F825}" destId="{8D0B2B12-A86F-44B5-85E0-CE99A74E8F85}" srcOrd="0" destOrd="0" presId="urn:microsoft.com/office/officeart/2008/layout/LinedList"/>
    <dgm:cxn modelId="{6C5C367F-14FF-4B3E-9E1D-A5F6746F599E}" type="presParOf" srcId="{43F04D26-14D7-4B68-9720-4BC7F966F825}" destId="{A84AF0EB-C4A7-4633-87AB-E3B556FEF417}" srcOrd="1" destOrd="0" presId="urn:microsoft.com/office/officeart/2008/layout/LinedList"/>
    <dgm:cxn modelId="{33817A91-817B-4493-A47E-9D7DB6CEAAD4}" type="presParOf" srcId="{4E273EAA-5A7C-4F54-AA0C-4CF1E19B2FBF}" destId="{8398ADA1-D379-4DD1-8756-E9B8F775C25C}" srcOrd="4" destOrd="0" presId="urn:microsoft.com/office/officeart/2008/layout/LinedList"/>
    <dgm:cxn modelId="{F1F4FB0F-8E5D-44F8-8885-70E879699A5F}" type="presParOf" srcId="{4E273EAA-5A7C-4F54-AA0C-4CF1E19B2FBF}" destId="{EB49AD75-FB49-444D-8748-C35213DA4AA1}" srcOrd="5" destOrd="0" presId="urn:microsoft.com/office/officeart/2008/layout/LinedList"/>
    <dgm:cxn modelId="{7244855E-43DF-47BA-BDA7-0A75DB8D9535}" type="presParOf" srcId="{EB49AD75-FB49-444D-8748-C35213DA4AA1}" destId="{2797FAB6-F0C4-43DC-B314-AEBAAEFBC348}" srcOrd="0" destOrd="0" presId="urn:microsoft.com/office/officeart/2008/layout/LinedList"/>
    <dgm:cxn modelId="{F295C87E-8585-402A-AB92-6CFFF425C92A}" type="presParOf" srcId="{EB49AD75-FB49-444D-8748-C35213DA4AA1}" destId="{19657FB0-4802-4049-B479-777203F3EB30}" srcOrd="1" destOrd="0" presId="urn:microsoft.com/office/officeart/2008/layout/LinedList"/>
    <dgm:cxn modelId="{A5E44110-CAD2-4C0E-B302-3E1E042369D8}" type="presParOf" srcId="{4E273EAA-5A7C-4F54-AA0C-4CF1E19B2FBF}" destId="{CB3FE173-EA37-4B0F-AE25-C7F4DEE94519}" srcOrd="6" destOrd="0" presId="urn:microsoft.com/office/officeart/2008/layout/LinedList"/>
    <dgm:cxn modelId="{1ECDA86F-D4DE-489D-A1BB-A77AC5A8FDB3}" type="presParOf" srcId="{4E273EAA-5A7C-4F54-AA0C-4CF1E19B2FBF}" destId="{0041568D-DECE-4400-9A7F-5646F1E7DA99}" srcOrd="7" destOrd="0" presId="urn:microsoft.com/office/officeart/2008/layout/LinedList"/>
    <dgm:cxn modelId="{313D5339-59AA-42DF-BD17-BB403CE8FAF1}" type="presParOf" srcId="{0041568D-DECE-4400-9A7F-5646F1E7DA99}" destId="{7ED721C8-F77C-4A91-857C-106EBAF30D3C}" srcOrd="0" destOrd="0" presId="urn:microsoft.com/office/officeart/2008/layout/LinedList"/>
    <dgm:cxn modelId="{DDDD0496-FE7C-4982-8DA1-1CE746F56EBC}" type="presParOf" srcId="{0041568D-DECE-4400-9A7F-5646F1E7DA99}" destId="{B47A6A5C-004B-4BFA-BA52-CED7BBCBC46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0D0D1F0-6593-4F77-A117-A6F63687C8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418E4E-003B-4691-B41A-34E015569CB3}">
      <dgm:prSet/>
      <dgm:spPr>
        <a:solidFill>
          <a:schemeClr val="accent2"/>
        </a:solidFill>
      </dgm:spPr>
      <dgm:t>
        <a:bodyPr/>
        <a:lstStyle/>
        <a:p>
          <a:r>
            <a:rPr lang="en-US" baseline="0" dirty="0"/>
            <a:t>Marketplace Limitations</a:t>
          </a:r>
          <a:endParaRPr lang="en-US" dirty="0"/>
        </a:p>
      </dgm:t>
    </dgm:pt>
    <dgm:pt modelId="{25ACF0B4-0B30-41F6-97A6-CFAC35833A2B}" type="parTrans" cxnId="{898C4B83-7F64-4F02-B13C-9CAC0D415769}">
      <dgm:prSet/>
      <dgm:spPr/>
      <dgm:t>
        <a:bodyPr/>
        <a:lstStyle/>
        <a:p>
          <a:endParaRPr lang="en-US"/>
        </a:p>
      </dgm:t>
    </dgm:pt>
    <dgm:pt modelId="{D7652A6F-46E1-4CFB-958C-E099AE2274B6}" type="sibTrans" cxnId="{898C4B83-7F64-4F02-B13C-9CAC0D415769}">
      <dgm:prSet/>
      <dgm:spPr/>
      <dgm:t>
        <a:bodyPr/>
        <a:lstStyle/>
        <a:p>
          <a:endParaRPr lang="en-US"/>
        </a:p>
      </dgm:t>
    </dgm:pt>
    <dgm:pt modelId="{F1951E54-9E6E-4628-9C80-B38FFD0B2435}">
      <dgm:prSet/>
      <dgm:spPr>
        <a:solidFill>
          <a:schemeClr val="accent2">
            <a:lumMod val="20000"/>
            <a:lumOff val="80000"/>
            <a:alpha val="90000"/>
          </a:schemeClr>
        </a:solidFill>
      </dgm:spPr>
      <dgm:t>
        <a:bodyPr/>
        <a:lstStyle/>
        <a:p>
          <a:r>
            <a:rPr lang="en-US" baseline="0"/>
            <a:t>Role-based access control is within subscription</a:t>
          </a:r>
          <a:endParaRPr lang="en-US"/>
        </a:p>
      </dgm:t>
    </dgm:pt>
    <dgm:pt modelId="{4BC5F3DF-999F-43EF-8287-F494F4AA33AA}" type="parTrans" cxnId="{BE285303-E451-44BF-BCE7-BED529E8D7E7}">
      <dgm:prSet/>
      <dgm:spPr/>
      <dgm:t>
        <a:bodyPr/>
        <a:lstStyle/>
        <a:p>
          <a:endParaRPr lang="en-US"/>
        </a:p>
      </dgm:t>
    </dgm:pt>
    <dgm:pt modelId="{6342F0D6-5DEB-45BA-8837-AA79F8DEA2B4}" type="sibTrans" cxnId="{BE285303-E451-44BF-BCE7-BED529E8D7E7}">
      <dgm:prSet/>
      <dgm:spPr/>
      <dgm:t>
        <a:bodyPr/>
        <a:lstStyle/>
        <a:p>
          <a:endParaRPr lang="en-US"/>
        </a:p>
      </dgm:t>
    </dgm:pt>
    <dgm:pt modelId="{C598C45C-4963-4B62-B402-DD5A4BB5F082}">
      <dgm:prSet/>
      <dgm:spPr>
        <a:solidFill>
          <a:schemeClr val="accent2">
            <a:lumMod val="20000"/>
            <a:lumOff val="80000"/>
            <a:alpha val="90000"/>
          </a:schemeClr>
        </a:solidFill>
      </dgm:spPr>
      <dgm:t>
        <a:bodyPr/>
        <a:lstStyle/>
        <a:p>
          <a:r>
            <a:rPr lang="en-US" baseline="0"/>
            <a:t>Anyone with subscription owner/contributor permissions can purchase</a:t>
          </a:r>
          <a:endParaRPr lang="en-US"/>
        </a:p>
      </dgm:t>
    </dgm:pt>
    <dgm:pt modelId="{0E899BD2-301C-4E61-8A62-EEB0DFAEEE8F}" type="parTrans" cxnId="{EC03B0FC-14B0-4174-B2DB-052BED736E1D}">
      <dgm:prSet/>
      <dgm:spPr/>
      <dgm:t>
        <a:bodyPr/>
        <a:lstStyle/>
        <a:p>
          <a:endParaRPr lang="en-US"/>
        </a:p>
      </dgm:t>
    </dgm:pt>
    <dgm:pt modelId="{0D5F0143-754C-4698-9068-5FB0F093FD3B}" type="sibTrans" cxnId="{EC03B0FC-14B0-4174-B2DB-052BED736E1D}">
      <dgm:prSet/>
      <dgm:spPr/>
      <dgm:t>
        <a:bodyPr/>
        <a:lstStyle/>
        <a:p>
          <a:endParaRPr lang="en-US"/>
        </a:p>
      </dgm:t>
    </dgm:pt>
    <dgm:pt modelId="{4ECCC43C-D0C1-44BB-BC93-DD447DED33EB}">
      <dgm:prSet/>
      <dgm:spPr>
        <a:solidFill>
          <a:schemeClr val="accent2">
            <a:lumMod val="20000"/>
            <a:lumOff val="80000"/>
            <a:alpha val="90000"/>
          </a:schemeClr>
        </a:solidFill>
      </dgm:spPr>
      <dgm:t>
        <a:bodyPr/>
        <a:lstStyle/>
        <a:p>
          <a:r>
            <a:rPr lang="en-US" baseline="0" dirty="0"/>
            <a:t>No "out of the box" integration with enterprise procurement or workflow</a:t>
          </a:r>
          <a:endParaRPr lang="en-US" dirty="0"/>
        </a:p>
      </dgm:t>
    </dgm:pt>
    <dgm:pt modelId="{64DC84BD-6DD4-42EA-B8B0-A85178FEFAF7}" type="parTrans" cxnId="{28CF537D-988B-4039-9530-DF3757ADF455}">
      <dgm:prSet/>
      <dgm:spPr/>
      <dgm:t>
        <a:bodyPr/>
        <a:lstStyle/>
        <a:p>
          <a:endParaRPr lang="en-US"/>
        </a:p>
      </dgm:t>
    </dgm:pt>
    <dgm:pt modelId="{3CAA3943-6853-4BF9-9DD9-0FC3A4B87964}" type="sibTrans" cxnId="{28CF537D-988B-4039-9530-DF3757ADF455}">
      <dgm:prSet/>
      <dgm:spPr/>
      <dgm:t>
        <a:bodyPr/>
        <a:lstStyle/>
        <a:p>
          <a:endParaRPr lang="en-US"/>
        </a:p>
      </dgm:t>
    </dgm:pt>
    <dgm:pt modelId="{2BF40411-C4C7-47E7-A1B5-43A19D37EE0E}">
      <dgm:prSet/>
      <dgm:spPr>
        <a:solidFill>
          <a:schemeClr val="accent2"/>
        </a:solidFill>
      </dgm:spPr>
      <dgm:t>
        <a:bodyPr/>
        <a:lstStyle/>
        <a:p>
          <a:r>
            <a:rPr lang="en-US" baseline="0"/>
            <a:t>Organization must adhere to procurement policies and procedures</a:t>
          </a:r>
          <a:endParaRPr lang="en-US"/>
        </a:p>
      </dgm:t>
    </dgm:pt>
    <dgm:pt modelId="{AB1156D9-1B36-4951-B650-04290E6FEE32}" type="parTrans" cxnId="{3F4EE81D-6828-4514-9F69-971EE815E913}">
      <dgm:prSet/>
      <dgm:spPr/>
      <dgm:t>
        <a:bodyPr/>
        <a:lstStyle/>
        <a:p>
          <a:endParaRPr lang="en-US"/>
        </a:p>
      </dgm:t>
    </dgm:pt>
    <dgm:pt modelId="{EFE02CC9-4E05-437D-90B3-A69887EDD5A3}" type="sibTrans" cxnId="{3F4EE81D-6828-4514-9F69-971EE815E913}">
      <dgm:prSet/>
      <dgm:spPr/>
      <dgm:t>
        <a:bodyPr/>
        <a:lstStyle/>
        <a:p>
          <a:endParaRPr lang="en-US"/>
        </a:p>
      </dgm:t>
    </dgm:pt>
    <dgm:pt modelId="{C2F80E1F-6628-477E-8243-650D05AC1153}">
      <dgm:prSet/>
      <dgm:spPr>
        <a:solidFill>
          <a:schemeClr val="accent2">
            <a:lumMod val="20000"/>
            <a:lumOff val="80000"/>
            <a:alpha val="90000"/>
          </a:schemeClr>
        </a:solidFill>
      </dgm:spPr>
      <dgm:t>
        <a:bodyPr/>
        <a:lstStyle/>
        <a:p>
          <a:r>
            <a:rPr lang="en-US" baseline="0"/>
            <a:t>Must be managed externally to the Azure portal</a:t>
          </a:r>
          <a:endParaRPr lang="en-US"/>
        </a:p>
      </dgm:t>
    </dgm:pt>
    <dgm:pt modelId="{27FE5C79-7E8A-4566-8896-AE9525CC23F3}" type="parTrans" cxnId="{6794B163-9A28-4A7C-8F59-EF2290271D5E}">
      <dgm:prSet/>
      <dgm:spPr/>
      <dgm:t>
        <a:bodyPr/>
        <a:lstStyle/>
        <a:p>
          <a:endParaRPr lang="en-US"/>
        </a:p>
      </dgm:t>
    </dgm:pt>
    <dgm:pt modelId="{553E2425-0FFB-45A5-B7A6-EE9C96AE0A44}" type="sibTrans" cxnId="{6794B163-9A28-4A7C-8F59-EF2290271D5E}">
      <dgm:prSet/>
      <dgm:spPr/>
      <dgm:t>
        <a:bodyPr/>
        <a:lstStyle/>
        <a:p>
          <a:endParaRPr lang="en-US"/>
        </a:p>
      </dgm:t>
    </dgm:pt>
    <dgm:pt modelId="{211B19DC-D5A5-4A01-A9EB-E9BF1C6231B3}">
      <dgm:prSet/>
      <dgm:spPr>
        <a:solidFill>
          <a:schemeClr val="accent2">
            <a:lumMod val="20000"/>
            <a:lumOff val="80000"/>
            <a:alpha val="90000"/>
          </a:schemeClr>
        </a:solidFill>
      </dgm:spPr>
      <dgm:t>
        <a:bodyPr/>
        <a:lstStyle/>
        <a:p>
          <a:r>
            <a:rPr lang="en-US" baseline="0"/>
            <a:t>Examples: Identifying who authorizes purchases</a:t>
          </a:r>
          <a:endParaRPr lang="en-US"/>
        </a:p>
      </dgm:t>
    </dgm:pt>
    <dgm:pt modelId="{2E277110-5B48-4F3A-9CC3-20BA78096625}" type="parTrans" cxnId="{8DB5D4D1-7DBD-4EB4-8ED0-5DEE9CDCF52E}">
      <dgm:prSet/>
      <dgm:spPr/>
      <dgm:t>
        <a:bodyPr/>
        <a:lstStyle/>
        <a:p>
          <a:endParaRPr lang="en-US"/>
        </a:p>
      </dgm:t>
    </dgm:pt>
    <dgm:pt modelId="{FF6B3FA0-E971-48C0-822A-CDA708380DE9}" type="sibTrans" cxnId="{8DB5D4D1-7DBD-4EB4-8ED0-5DEE9CDCF52E}">
      <dgm:prSet/>
      <dgm:spPr/>
      <dgm:t>
        <a:bodyPr/>
        <a:lstStyle/>
        <a:p>
          <a:endParaRPr lang="en-US"/>
        </a:p>
      </dgm:t>
    </dgm:pt>
    <dgm:pt modelId="{B739AD5A-0DBC-4F93-B8B6-78A3FD305EC6}">
      <dgm:prSet/>
      <dgm:spPr>
        <a:solidFill>
          <a:schemeClr val="accent2">
            <a:lumMod val="20000"/>
            <a:lumOff val="80000"/>
            <a:alpha val="90000"/>
          </a:schemeClr>
        </a:solidFill>
      </dgm:spPr>
      <dgm:t>
        <a:bodyPr/>
        <a:lstStyle/>
        <a:p>
          <a:r>
            <a:rPr lang="en-US" baseline="0"/>
            <a:t>Established approval hierarchies</a:t>
          </a:r>
          <a:endParaRPr lang="en-US"/>
        </a:p>
      </dgm:t>
    </dgm:pt>
    <dgm:pt modelId="{1C978DD7-3440-42FB-9456-631D7104E094}" type="parTrans" cxnId="{2F3E380B-B9D1-4D3A-A1DA-7305A551D365}">
      <dgm:prSet/>
      <dgm:spPr/>
      <dgm:t>
        <a:bodyPr/>
        <a:lstStyle/>
        <a:p>
          <a:endParaRPr lang="en-US"/>
        </a:p>
      </dgm:t>
    </dgm:pt>
    <dgm:pt modelId="{08C13686-F47A-42CD-9659-8862AF27AC87}" type="sibTrans" cxnId="{2F3E380B-B9D1-4D3A-A1DA-7305A551D365}">
      <dgm:prSet/>
      <dgm:spPr/>
      <dgm:t>
        <a:bodyPr/>
        <a:lstStyle/>
        <a:p>
          <a:endParaRPr lang="en-US"/>
        </a:p>
      </dgm:t>
    </dgm:pt>
    <dgm:pt modelId="{D12C46BC-89EC-41A0-B0B0-26EF8613136A}">
      <dgm:prSet/>
      <dgm:spPr>
        <a:solidFill>
          <a:schemeClr val="accent2">
            <a:lumMod val="20000"/>
            <a:lumOff val="80000"/>
            <a:alpha val="90000"/>
          </a:schemeClr>
        </a:solidFill>
      </dgm:spPr>
      <dgm:t>
        <a:bodyPr/>
        <a:lstStyle/>
        <a:p>
          <a:r>
            <a:rPr lang="en-US" baseline="0"/>
            <a:t>Determination of who executes purchase</a:t>
          </a:r>
          <a:endParaRPr lang="en-US"/>
        </a:p>
      </dgm:t>
    </dgm:pt>
    <dgm:pt modelId="{BDADECA5-18E5-424B-8327-6919469372EF}" type="parTrans" cxnId="{7DABD7B6-D0FC-4C1D-B27C-19903A4C4FC5}">
      <dgm:prSet/>
      <dgm:spPr/>
      <dgm:t>
        <a:bodyPr/>
        <a:lstStyle/>
        <a:p>
          <a:endParaRPr lang="en-US"/>
        </a:p>
      </dgm:t>
    </dgm:pt>
    <dgm:pt modelId="{A9F7189A-D2E9-4261-8D4E-EA9CF6FBF52F}" type="sibTrans" cxnId="{7DABD7B6-D0FC-4C1D-B27C-19903A4C4FC5}">
      <dgm:prSet/>
      <dgm:spPr/>
      <dgm:t>
        <a:bodyPr/>
        <a:lstStyle/>
        <a:p>
          <a:endParaRPr lang="en-US"/>
        </a:p>
      </dgm:t>
    </dgm:pt>
    <dgm:pt modelId="{23890282-9A25-4F84-8477-BFE7FCB7F881}" type="pres">
      <dgm:prSet presAssocID="{D0D0D1F0-6593-4F77-A117-A6F63687C847}" presName="Name0" presStyleCnt="0">
        <dgm:presLayoutVars>
          <dgm:dir/>
          <dgm:animLvl val="lvl"/>
          <dgm:resizeHandles val="exact"/>
        </dgm:presLayoutVars>
      </dgm:prSet>
      <dgm:spPr/>
    </dgm:pt>
    <dgm:pt modelId="{15B4DAEB-3AE4-4BF7-9685-2B2318A913A0}" type="pres">
      <dgm:prSet presAssocID="{B6418E4E-003B-4691-B41A-34E015569CB3}" presName="linNode" presStyleCnt="0"/>
      <dgm:spPr/>
    </dgm:pt>
    <dgm:pt modelId="{C17A61C0-9B07-499E-93CE-8DBF948A5B72}" type="pres">
      <dgm:prSet presAssocID="{B6418E4E-003B-4691-B41A-34E015569CB3}" presName="parentText" presStyleLbl="node1" presStyleIdx="0" presStyleCnt="2">
        <dgm:presLayoutVars>
          <dgm:chMax val="1"/>
          <dgm:bulletEnabled val="1"/>
        </dgm:presLayoutVars>
      </dgm:prSet>
      <dgm:spPr/>
    </dgm:pt>
    <dgm:pt modelId="{EBFD211D-10BB-400E-BC0C-3BDFB2F913A8}" type="pres">
      <dgm:prSet presAssocID="{B6418E4E-003B-4691-B41A-34E015569CB3}" presName="descendantText" presStyleLbl="alignAccFollowNode1" presStyleIdx="0" presStyleCnt="2">
        <dgm:presLayoutVars>
          <dgm:bulletEnabled val="1"/>
        </dgm:presLayoutVars>
      </dgm:prSet>
      <dgm:spPr/>
    </dgm:pt>
    <dgm:pt modelId="{AF77CBDB-5AD4-4FF0-AAE4-7DA7BB7283CE}" type="pres">
      <dgm:prSet presAssocID="{D7652A6F-46E1-4CFB-958C-E099AE2274B6}" presName="sp" presStyleCnt="0"/>
      <dgm:spPr/>
    </dgm:pt>
    <dgm:pt modelId="{9CE3F98D-3703-4808-B59E-E8AE31E27BE7}" type="pres">
      <dgm:prSet presAssocID="{2BF40411-C4C7-47E7-A1B5-43A19D37EE0E}" presName="linNode" presStyleCnt="0"/>
      <dgm:spPr/>
    </dgm:pt>
    <dgm:pt modelId="{6611B5D6-ABA5-419E-B96D-0DE591D8C5FE}" type="pres">
      <dgm:prSet presAssocID="{2BF40411-C4C7-47E7-A1B5-43A19D37EE0E}" presName="parentText" presStyleLbl="node1" presStyleIdx="1" presStyleCnt="2">
        <dgm:presLayoutVars>
          <dgm:chMax val="1"/>
          <dgm:bulletEnabled val="1"/>
        </dgm:presLayoutVars>
      </dgm:prSet>
      <dgm:spPr/>
    </dgm:pt>
    <dgm:pt modelId="{00CF4A83-DEB6-4C79-A309-E1F6386EADA4}" type="pres">
      <dgm:prSet presAssocID="{2BF40411-C4C7-47E7-A1B5-43A19D37EE0E}" presName="descendantText" presStyleLbl="alignAccFollowNode1" presStyleIdx="1" presStyleCnt="2">
        <dgm:presLayoutVars>
          <dgm:bulletEnabled val="1"/>
        </dgm:presLayoutVars>
      </dgm:prSet>
      <dgm:spPr/>
    </dgm:pt>
  </dgm:ptLst>
  <dgm:cxnLst>
    <dgm:cxn modelId="{BE285303-E451-44BF-BCE7-BED529E8D7E7}" srcId="{B6418E4E-003B-4691-B41A-34E015569CB3}" destId="{F1951E54-9E6E-4628-9C80-B38FFD0B2435}" srcOrd="0" destOrd="0" parTransId="{4BC5F3DF-999F-43EF-8287-F494F4AA33AA}" sibTransId="{6342F0D6-5DEB-45BA-8837-AA79F8DEA2B4}"/>
    <dgm:cxn modelId="{2F3E380B-B9D1-4D3A-A1DA-7305A551D365}" srcId="{C2F80E1F-6628-477E-8243-650D05AC1153}" destId="{B739AD5A-0DBC-4F93-B8B6-78A3FD305EC6}" srcOrd="1" destOrd="0" parTransId="{1C978DD7-3440-42FB-9456-631D7104E094}" sibTransId="{08C13686-F47A-42CD-9659-8862AF27AC87}"/>
    <dgm:cxn modelId="{3F4EE81D-6828-4514-9F69-971EE815E913}" srcId="{D0D0D1F0-6593-4F77-A117-A6F63687C847}" destId="{2BF40411-C4C7-47E7-A1B5-43A19D37EE0E}" srcOrd="1" destOrd="0" parTransId="{AB1156D9-1B36-4951-B650-04290E6FEE32}" sibTransId="{EFE02CC9-4E05-437D-90B3-A69887EDD5A3}"/>
    <dgm:cxn modelId="{C9459C27-8DD2-444B-879D-00A681A1B02A}" type="presOf" srcId="{C2F80E1F-6628-477E-8243-650D05AC1153}" destId="{00CF4A83-DEB6-4C79-A309-E1F6386EADA4}" srcOrd="0" destOrd="0" presId="urn:microsoft.com/office/officeart/2005/8/layout/vList5"/>
    <dgm:cxn modelId="{437B7035-D72C-43CC-AF99-173C631F6B0C}" type="presOf" srcId="{2BF40411-C4C7-47E7-A1B5-43A19D37EE0E}" destId="{6611B5D6-ABA5-419E-B96D-0DE591D8C5FE}" srcOrd="0" destOrd="0" presId="urn:microsoft.com/office/officeart/2005/8/layout/vList5"/>
    <dgm:cxn modelId="{69E08542-4673-43BE-AC1B-39F458D54457}" type="presOf" srcId="{4ECCC43C-D0C1-44BB-BC93-DD447DED33EB}" destId="{EBFD211D-10BB-400E-BC0C-3BDFB2F913A8}" srcOrd="0" destOrd="2" presId="urn:microsoft.com/office/officeart/2005/8/layout/vList5"/>
    <dgm:cxn modelId="{6794B163-9A28-4A7C-8F59-EF2290271D5E}" srcId="{2BF40411-C4C7-47E7-A1B5-43A19D37EE0E}" destId="{C2F80E1F-6628-477E-8243-650D05AC1153}" srcOrd="0" destOrd="0" parTransId="{27FE5C79-7E8A-4566-8896-AE9525CC23F3}" sibTransId="{553E2425-0FFB-45A5-B7A6-EE9C96AE0A44}"/>
    <dgm:cxn modelId="{B6C92E70-74FE-468E-A9B9-5C5C29AED4B0}" type="presOf" srcId="{B6418E4E-003B-4691-B41A-34E015569CB3}" destId="{C17A61C0-9B07-499E-93CE-8DBF948A5B72}" srcOrd="0" destOrd="0" presId="urn:microsoft.com/office/officeart/2005/8/layout/vList5"/>
    <dgm:cxn modelId="{17F0B372-71D2-41BD-8893-7DB4FD8CD2F6}" type="presOf" srcId="{F1951E54-9E6E-4628-9C80-B38FFD0B2435}" destId="{EBFD211D-10BB-400E-BC0C-3BDFB2F913A8}" srcOrd="0" destOrd="0" presId="urn:microsoft.com/office/officeart/2005/8/layout/vList5"/>
    <dgm:cxn modelId="{28CF537D-988B-4039-9530-DF3757ADF455}" srcId="{B6418E4E-003B-4691-B41A-34E015569CB3}" destId="{4ECCC43C-D0C1-44BB-BC93-DD447DED33EB}" srcOrd="2" destOrd="0" parTransId="{64DC84BD-6DD4-42EA-B8B0-A85178FEFAF7}" sibTransId="{3CAA3943-6853-4BF9-9DD9-0FC3A4B87964}"/>
    <dgm:cxn modelId="{898C4B83-7F64-4F02-B13C-9CAC0D415769}" srcId="{D0D0D1F0-6593-4F77-A117-A6F63687C847}" destId="{B6418E4E-003B-4691-B41A-34E015569CB3}" srcOrd="0" destOrd="0" parTransId="{25ACF0B4-0B30-41F6-97A6-CFAC35833A2B}" sibTransId="{D7652A6F-46E1-4CFB-958C-E099AE2274B6}"/>
    <dgm:cxn modelId="{9BD3FC8B-BB34-4C1A-94C9-530570A6F8A3}" type="presOf" srcId="{B739AD5A-0DBC-4F93-B8B6-78A3FD305EC6}" destId="{00CF4A83-DEB6-4C79-A309-E1F6386EADA4}" srcOrd="0" destOrd="2" presId="urn:microsoft.com/office/officeart/2005/8/layout/vList5"/>
    <dgm:cxn modelId="{3FA4CD9A-627E-4231-8884-C2E94428D742}" type="presOf" srcId="{211B19DC-D5A5-4A01-A9EB-E9BF1C6231B3}" destId="{00CF4A83-DEB6-4C79-A309-E1F6386EADA4}" srcOrd="0" destOrd="1" presId="urn:microsoft.com/office/officeart/2005/8/layout/vList5"/>
    <dgm:cxn modelId="{A0DBBAA2-967D-4FEA-A4ED-5F29A55EB0E2}" type="presOf" srcId="{D12C46BC-89EC-41A0-B0B0-26EF8613136A}" destId="{00CF4A83-DEB6-4C79-A309-E1F6386EADA4}" srcOrd="0" destOrd="3" presId="urn:microsoft.com/office/officeart/2005/8/layout/vList5"/>
    <dgm:cxn modelId="{7DABD7B6-D0FC-4C1D-B27C-19903A4C4FC5}" srcId="{C2F80E1F-6628-477E-8243-650D05AC1153}" destId="{D12C46BC-89EC-41A0-B0B0-26EF8613136A}" srcOrd="2" destOrd="0" parTransId="{BDADECA5-18E5-424B-8327-6919469372EF}" sibTransId="{A9F7189A-D2E9-4261-8D4E-EA9CF6FBF52F}"/>
    <dgm:cxn modelId="{FCBB0BBF-1234-4325-AB51-62D93AA190B6}" type="presOf" srcId="{D0D0D1F0-6593-4F77-A117-A6F63687C847}" destId="{23890282-9A25-4F84-8477-BFE7FCB7F881}" srcOrd="0" destOrd="0" presId="urn:microsoft.com/office/officeart/2005/8/layout/vList5"/>
    <dgm:cxn modelId="{8DB5D4D1-7DBD-4EB4-8ED0-5DEE9CDCF52E}" srcId="{C2F80E1F-6628-477E-8243-650D05AC1153}" destId="{211B19DC-D5A5-4A01-A9EB-E9BF1C6231B3}" srcOrd="0" destOrd="0" parTransId="{2E277110-5B48-4F3A-9CC3-20BA78096625}" sibTransId="{FF6B3FA0-E971-48C0-822A-CDA708380DE9}"/>
    <dgm:cxn modelId="{400C87D8-33D9-4CD8-A3B3-29D57C7BD719}" type="presOf" srcId="{C598C45C-4963-4B62-B402-DD5A4BB5F082}" destId="{EBFD211D-10BB-400E-BC0C-3BDFB2F913A8}" srcOrd="0" destOrd="1" presId="urn:microsoft.com/office/officeart/2005/8/layout/vList5"/>
    <dgm:cxn modelId="{EC03B0FC-14B0-4174-B2DB-052BED736E1D}" srcId="{B6418E4E-003B-4691-B41A-34E015569CB3}" destId="{C598C45C-4963-4B62-B402-DD5A4BB5F082}" srcOrd="1" destOrd="0" parTransId="{0E899BD2-301C-4E61-8A62-EEB0DFAEEE8F}" sibTransId="{0D5F0143-754C-4698-9068-5FB0F093FD3B}"/>
    <dgm:cxn modelId="{DC09AE86-E17C-4C83-A49D-67BCF0D7ACB5}" type="presParOf" srcId="{23890282-9A25-4F84-8477-BFE7FCB7F881}" destId="{15B4DAEB-3AE4-4BF7-9685-2B2318A913A0}" srcOrd="0" destOrd="0" presId="urn:microsoft.com/office/officeart/2005/8/layout/vList5"/>
    <dgm:cxn modelId="{2E46D4AC-02EC-4AA5-914D-26869AD5DDF8}" type="presParOf" srcId="{15B4DAEB-3AE4-4BF7-9685-2B2318A913A0}" destId="{C17A61C0-9B07-499E-93CE-8DBF948A5B72}" srcOrd="0" destOrd="0" presId="urn:microsoft.com/office/officeart/2005/8/layout/vList5"/>
    <dgm:cxn modelId="{5FD9F2C1-CFB2-402B-8C58-4E2F2C717FAB}" type="presParOf" srcId="{15B4DAEB-3AE4-4BF7-9685-2B2318A913A0}" destId="{EBFD211D-10BB-400E-BC0C-3BDFB2F913A8}" srcOrd="1" destOrd="0" presId="urn:microsoft.com/office/officeart/2005/8/layout/vList5"/>
    <dgm:cxn modelId="{50E56945-57C5-4A72-BD0F-F5EBC89A4162}" type="presParOf" srcId="{23890282-9A25-4F84-8477-BFE7FCB7F881}" destId="{AF77CBDB-5AD4-4FF0-AAE4-7DA7BB7283CE}" srcOrd="1" destOrd="0" presId="urn:microsoft.com/office/officeart/2005/8/layout/vList5"/>
    <dgm:cxn modelId="{B93AE286-0687-4F6E-A675-3329C5FD14F7}" type="presParOf" srcId="{23890282-9A25-4F84-8477-BFE7FCB7F881}" destId="{9CE3F98D-3703-4808-B59E-E8AE31E27BE7}" srcOrd="2" destOrd="0" presId="urn:microsoft.com/office/officeart/2005/8/layout/vList5"/>
    <dgm:cxn modelId="{76ECE84A-01C5-4D04-93AC-5ECEE5EB6272}" type="presParOf" srcId="{9CE3F98D-3703-4808-B59E-E8AE31E27BE7}" destId="{6611B5D6-ABA5-419E-B96D-0DE591D8C5FE}" srcOrd="0" destOrd="0" presId="urn:microsoft.com/office/officeart/2005/8/layout/vList5"/>
    <dgm:cxn modelId="{C5C238E3-A62B-454F-8441-4092AA3AD3C6}" type="presParOf" srcId="{9CE3F98D-3703-4808-B59E-E8AE31E27BE7}" destId="{00CF4A83-DEB6-4C79-A309-E1F6386EAD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4A9AB-47D7-4AAC-82AD-B40F8998EDDA}">
      <dsp:nvSpPr>
        <dsp:cNvPr id="0" name=""/>
        <dsp:cNvSpPr/>
      </dsp:nvSpPr>
      <dsp:spPr>
        <a:xfrm>
          <a:off x="0" y="352233"/>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Accept</a:t>
          </a:r>
          <a:endParaRPr lang="en-US" sz="1700" kern="1200"/>
        </a:p>
        <a:p>
          <a:pPr marL="171450" lvl="1" indent="-171450" algn="l" defTabSz="755650">
            <a:lnSpc>
              <a:spcPct val="90000"/>
            </a:lnSpc>
            <a:spcBef>
              <a:spcPct val="0"/>
            </a:spcBef>
            <a:spcAft>
              <a:spcPct val="15000"/>
            </a:spcAft>
            <a:buChar char="•"/>
          </a:pPr>
          <a:r>
            <a:rPr lang="en-US" sz="1700" kern="1200" baseline="0"/>
            <a:t>Purchase</a:t>
          </a:r>
          <a:endParaRPr lang="en-US" sz="1700" kern="1200"/>
        </a:p>
      </dsp:txBody>
      <dsp:txXfrm>
        <a:off x="0" y="352233"/>
        <a:ext cx="11018837" cy="1044225"/>
      </dsp:txXfrm>
    </dsp:sp>
    <dsp:sp modelId="{35B8B9FC-FC2F-48D1-8D16-AD533F24C4B6}">
      <dsp:nvSpPr>
        <dsp:cNvPr id="0" name=""/>
        <dsp:cNvSpPr/>
      </dsp:nvSpPr>
      <dsp:spPr>
        <a:xfrm>
          <a:off x="550941" y="10131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Two steps for purchase private offers:</a:t>
          </a:r>
          <a:endParaRPr lang="en-US" sz="1700" kern="1200"/>
        </a:p>
      </dsp:txBody>
      <dsp:txXfrm>
        <a:off x="575439" y="125811"/>
        <a:ext cx="7664190" cy="452844"/>
      </dsp:txXfrm>
    </dsp:sp>
    <dsp:sp modelId="{4463158C-EC9F-489E-9836-2A7B1CB462AF}">
      <dsp:nvSpPr>
        <dsp:cNvPr id="0" name=""/>
        <dsp:cNvSpPr/>
      </dsp:nvSpPr>
      <dsp:spPr>
        <a:xfrm>
          <a:off x="0" y="1739179"/>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Completed in publisher's portal</a:t>
          </a:r>
          <a:endParaRPr lang="en-US" sz="1700" kern="1200"/>
        </a:p>
        <a:p>
          <a:pPr marL="171450" lvl="1" indent="-171450" algn="l" defTabSz="755650">
            <a:lnSpc>
              <a:spcPct val="90000"/>
            </a:lnSpc>
            <a:spcBef>
              <a:spcPct val="0"/>
            </a:spcBef>
            <a:spcAft>
              <a:spcPct val="15000"/>
            </a:spcAft>
            <a:buChar char="•"/>
          </a:pPr>
          <a:r>
            <a:rPr lang="en-US" sz="1700" kern="1200" baseline="0"/>
            <a:t>Requires Entra ID (Azure Active Directory) permissions</a:t>
          </a:r>
          <a:endParaRPr lang="en-US" sz="1700" kern="1200"/>
        </a:p>
      </dsp:txBody>
      <dsp:txXfrm>
        <a:off x="0" y="1739179"/>
        <a:ext cx="11018837" cy="1044225"/>
      </dsp:txXfrm>
    </dsp:sp>
    <dsp:sp modelId="{CDE54510-D1F2-44F3-BA3A-F9CEC9431F7F}">
      <dsp:nvSpPr>
        <dsp:cNvPr id="0" name=""/>
        <dsp:cNvSpPr/>
      </dsp:nvSpPr>
      <dsp:spPr>
        <a:xfrm>
          <a:off x="550941" y="1488258"/>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SaaS subscriptions</a:t>
          </a:r>
          <a:endParaRPr lang="en-US" sz="1700" kern="1200"/>
        </a:p>
      </dsp:txBody>
      <dsp:txXfrm>
        <a:off x="575439" y="1512756"/>
        <a:ext cx="7664190" cy="452844"/>
      </dsp:txXfrm>
    </dsp:sp>
    <dsp:sp modelId="{416B9D5B-018B-4AD8-95F9-F3A46DF79AF1}">
      <dsp:nvSpPr>
        <dsp:cNvPr id="0" name=""/>
        <dsp:cNvSpPr/>
      </dsp:nvSpPr>
      <dsp:spPr>
        <a:xfrm>
          <a:off x="0" y="3126123"/>
          <a:ext cx="11018837" cy="16065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arketplace private offers precheck tool (</a:t>
          </a:r>
          <a:r>
            <a:rPr lang="en-US" sz="1700" kern="1200" baseline="0">
              <a:hlinkClick xmlns:r="http://schemas.openxmlformats.org/officeDocument/2006/relationships" r:id="rId1"/>
            </a:rPr>
            <a:t>https://learn.microsoft.com/en-us/marketplace/private-offers-pre-check</a:t>
          </a:r>
          <a:r>
            <a:rPr lang="en-US" sz="1700" kern="1200" baseline="0"/>
            <a:t>)</a:t>
          </a:r>
          <a:endParaRPr lang="en-US" sz="1700" kern="1200"/>
        </a:p>
        <a:p>
          <a:pPr marL="171450" lvl="1" indent="-171450" algn="l" defTabSz="755650">
            <a:lnSpc>
              <a:spcPct val="90000"/>
            </a:lnSpc>
            <a:spcBef>
              <a:spcPct val="0"/>
            </a:spcBef>
            <a:spcAft>
              <a:spcPct val="15000"/>
            </a:spcAft>
            <a:buChar char="•"/>
          </a:pPr>
          <a:r>
            <a:rPr lang="en-US" sz="1700" kern="1200" baseline="0"/>
            <a:t>Private marketplace – product will be in the allow list</a:t>
          </a:r>
          <a:endParaRPr lang="en-US" sz="1700" kern="1200"/>
        </a:p>
        <a:p>
          <a:pPr marL="171450" lvl="1" indent="-171450" algn="l" defTabSz="755650">
            <a:lnSpc>
              <a:spcPct val="90000"/>
            </a:lnSpc>
            <a:spcBef>
              <a:spcPct val="0"/>
            </a:spcBef>
            <a:spcAft>
              <a:spcPct val="15000"/>
            </a:spcAft>
            <a:buChar char="•"/>
          </a:pPr>
          <a:r>
            <a:rPr lang="en-US" sz="1700" kern="1200" baseline="0"/>
            <a:t>Azure policies – used to block or enforce tagging when resources are created</a:t>
          </a:r>
          <a:endParaRPr lang="en-US" sz="1700" kern="1200"/>
        </a:p>
      </dsp:txBody>
      <dsp:txXfrm>
        <a:off x="0" y="3126123"/>
        <a:ext cx="11018837" cy="1606500"/>
      </dsp:txXfrm>
    </dsp:sp>
    <dsp:sp modelId="{F23A4A5F-3279-4844-9F37-797736070D7C}">
      <dsp:nvSpPr>
        <dsp:cNvPr id="0" name=""/>
        <dsp:cNvSpPr/>
      </dsp:nvSpPr>
      <dsp:spPr>
        <a:xfrm>
          <a:off x="550941" y="287520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Finding permissions</a:t>
          </a:r>
          <a:endParaRPr lang="en-US" sz="1700" kern="1200"/>
        </a:p>
      </dsp:txBody>
      <dsp:txXfrm>
        <a:off x="575439" y="2899701"/>
        <a:ext cx="7664190" cy="452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6D9BC-D594-49A2-97F6-C14799756212}">
      <dsp:nvSpPr>
        <dsp:cNvPr id="0" name=""/>
        <dsp:cNvSpPr/>
      </dsp:nvSpPr>
      <dsp:spPr>
        <a:xfrm>
          <a:off x="0" y="2006"/>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1C921374-3434-44A4-90B0-7394D130E2D5}">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CBF556-0D7C-496E-88C2-E002786B84B4}">
      <dsp:nvSpPr>
        <dsp:cNvPr id="0" name=""/>
        <dsp:cNvSpPr/>
      </dsp:nvSpPr>
      <dsp:spPr>
        <a:xfrm>
          <a:off x="1174434" y="2006"/>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n Azure portal, go to: Subscriptions &gt; select the subscription &gt; resource providers &gt; filter by the word “marketplace” &gt; make sure all three results are enabled for Azure Marketplace.</a:t>
          </a:r>
        </a:p>
      </dsp:txBody>
      <dsp:txXfrm>
        <a:off x="1174434" y="2006"/>
        <a:ext cx="9844403" cy="1016826"/>
      </dsp:txXfrm>
    </dsp:sp>
    <dsp:sp modelId="{63CA4B60-F8C6-41C8-8716-CA007D869189}">
      <dsp:nvSpPr>
        <dsp:cNvPr id="0" name=""/>
        <dsp:cNvSpPr/>
      </dsp:nvSpPr>
      <dsp:spPr>
        <a:xfrm>
          <a:off x="0" y="1273039"/>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C95DB5FA-1F17-46B1-86BC-9E3E95817252}">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057E3F-FBBF-4E63-8B0E-9CB7DB4A0626}">
      <dsp:nvSpPr>
        <dsp:cNvPr id="0" name=""/>
        <dsp:cNvSpPr/>
      </dsp:nvSpPr>
      <dsp:spPr>
        <a:xfrm>
          <a:off x="1174434" y="1273039"/>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your billing account permissions, go to the Azure portal and select Cost Management &amp; Billing &gt; Billing Scopes &gt; (select the billing account you want) &gt; Access Management (IAM).</a:t>
          </a:r>
        </a:p>
      </dsp:txBody>
      <dsp:txXfrm>
        <a:off x="1174434" y="1273039"/>
        <a:ext cx="9844403" cy="1016826"/>
      </dsp:txXfrm>
    </dsp:sp>
    <dsp:sp modelId="{686572CC-AF7A-44B7-B838-130EA4B7245B}">
      <dsp:nvSpPr>
        <dsp:cNvPr id="0" name=""/>
        <dsp:cNvSpPr/>
      </dsp:nvSpPr>
      <dsp:spPr>
        <a:xfrm>
          <a:off x="0" y="2544072"/>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0CD868EC-EE32-475D-8542-567FC0023D53}">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3DE67C-4ECC-4EFC-9242-181B62B20B64}">
      <dsp:nvSpPr>
        <dsp:cNvPr id="0" name=""/>
        <dsp:cNvSpPr/>
      </dsp:nvSpPr>
      <dsp:spPr>
        <a:xfrm>
          <a:off x="1174434" y="2544072"/>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f you don't see the billing account you're looking for, it means you don't have permission to it (including read-only permissions). To learn more, see Billing accounts and scopes in the Azure portal.</a:t>
          </a:r>
        </a:p>
      </dsp:txBody>
      <dsp:txXfrm>
        <a:off x="1174434" y="2544072"/>
        <a:ext cx="9844403" cy="1016826"/>
      </dsp:txXfrm>
    </dsp:sp>
    <dsp:sp modelId="{9AD606DB-863A-4EB8-8DA7-881F8AF4E8B3}">
      <dsp:nvSpPr>
        <dsp:cNvPr id="0" name=""/>
        <dsp:cNvSpPr/>
      </dsp:nvSpPr>
      <dsp:spPr>
        <a:xfrm>
          <a:off x="0" y="3815105"/>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2E50BE81-51C7-4DD6-A7C2-5B00583819D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B9BD47-0F23-421E-B830-2B25D95CEE3C}">
      <dsp:nvSpPr>
        <dsp:cNvPr id="0" name=""/>
        <dsp:cNvSpPr/>
      </dsp:nvSpPr>
      <dsp:spPr>
        <a:xfrm>
          <a:off x="1174434" y="3815105"/>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if you can register third-party applications via SSO, check on Azure AD menu that users can register applications (Activating your SaaS service requires SSO permissions to third party apps)</a:t>
          </a:r>
        </a:p>
      </dsp:txBody>
      <dsp:txXfrm>
        <a:off x="1174434" y="3815105"/>
        <a:ext cx="9844403" cy="10168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106EA-0AC8-4B5D-983D-94EF5E112A7B}">
      <dsp:nvSpPr>
        <dsp:cNvPr id="0" name=""/>
        <dsp:cNvSpPr/>
      </dsp:nvSpPr>
      <dsp:spPr>
        <a:xfrm>
          <a:off x="596672"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34BC8-4479-430A-913B-4E937F5EC312}">
      <dsp:nvSpPr>
        <dsp:cNvPr id="0" name=""/>
        <dsp:cNvSpPr/>
      </dsp:nvSpPr>
      <dsp:spPr>
        <a:xfrm>
          <a:off x="905575" y="1415401"/>
          <a:ext cx="831662" cy="8316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3480CE-2919-417F-BF34-997133081734}">
      <dsp:nvSpPr>
        <dsp:cNvPr id="0" name=""/>
        <dsp:cNvSpPr/>
      </dsp:nvSpPr>
      <dsp:spPr>
        <a:xfrm>
          <a:off x="133317"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ccess to the Marketplace requires Entra ID integration</a:t>
          </a:r>
          <a:endParaRPr lang="en-US" sz="1500" kern="1200"/>
        </a:p>
      </dsp:txBody>
      <dsp:txXfrm>
        <a:off x="133317" y="3007439"/>
        <a:ext cx="2376177" cy="720000"/>
      </dsp:txXfrm>
    </dsp:sp>
    <dsp:sp modelId="{0EB1D68C-8980-4D51-BDDB-EFCB6DF1E2DB}">
      <dsp:nvSpPr>
        <dsp:cNvPr id="0" name=""/>
        <dsp:cNvSpPr/>
      </dsp:nvSpPr>
      <dsp:spPr>
        <a:xfrm>
          <a:off x="3388680"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59C-42B4-4207-A1E6-E13FF0339821}">
      <dsp:nvSpPr>
        <dsp:cNvPr id="0" name=""/>
        <dsp:cNvSpPr/>
      </dsp:nvSpPr>
      <dsp:spPr>
        <a:xfrm>
          <a:off x="3697583" y="1415401"/>
          <a:ext cx="831662" cy="8316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141F5-6920-4C44-AA69-BCB98DA9A01C}">
      <dsp:nvSpPr>
        <dsp:cNvPr id="0" name=""/>
        <dsp:cNvSpPr/>
      </dsp:nvSpPr>
      <dsp:spPr>
        <a:xfrm>
          <a:off x="2925326"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Provides SSO for users</a:t>
          </a:r>
          <a:endParaRPr lang="en-US" sz="1500" kern="1200"/>
        </a:p>
      </dsp:txBody>
      <dsp:txXfrm>
        <a:off x="2925326" y="3007439"/>
        <a:ext cx="2376177" cy="720000"/>
      </dsp:txXfrm>
    </dsp:sp>
    <dsp:sp modelId="{3393C2F6-81E3-450B-B932-EE5CE1CBB445}">
      <dsp:nvSpPr>
        <dsp:cNvPr id="0" name=""/>
        <dsp:cNvSpPr/>
      </dsp:nvSpPr>
      <dsp:spPr>
        <a:xfrm>
          <a:off x="6180689"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C9BAE-8634-4DEE-AD0A-E80E62775AD7}">
      <dsp:nvSpPr>
        <dsp:cNvPr id="0" name=""/>
        <dsp:cNvSpPr/>
      </dsp:nvSpPr>
      <dsp:spPr>
        <a:xfrm>
          <a:off x="6489592" y="1415401"/>
          <a:ext cx="831662" cy="8316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B0C3D6-EED9-4338-BA86-F34F9481DC71}">
      <dsp:nvSpPr>
        <dsp:cNvPr id="0" name=""/>
        <dsp:cNvSpPr/>
      </dsp:nvSpPr>
      <dsp:spPr>
        <a:xfrm>
          <a:off x="5717334"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llows users to login through Procurement systems</a:t>
          </a:r>
          <a:endParaRPr lang="en-US" sz="1500" kern="1200"/>
        </a:p>
      </dsp:txBody>
      <dsp:txXfrm>
        <a:off x="5717334" y="3007439"/>
        <a:ext cx="2376177" cy="720000"/>
      </dsp:txXfrm>
    </dsp:sp>
    <dsp:sp modelId="{305DA574-F90B-41DE-8FB7-F89349DB75DD}">
      <dsp:nvSpPr>
        <dsp:cNvPr id="0" name=""/>
        <dsp:cNvSpPr/>
      </dsp:nvSpPr>
      <dsp:spPr>
        <a:xfrm>
          <a:off x="8972697"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22E50-53E1-4275-B7F2-88D2F91EC132}">
      <dsp:nvSpPr>
        <dsp:cNvPr id="0" name=""/>
        <dsp:cNvSpPr/>
      </dsp:nvSpPr>
      <dsp:spPr>
        <a:xfrm>
          <a:off x="9281600" y="1415401"/>
          <a:ext cx="831662" cy="83166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A1736A-6D2A-4C09-BDDA-D08F75FBD65E}">
      <dsp:nvSpPr>
        <dsp:cNvPr id="0" name=""/>
        <dsp:cNvSpPr/>
      </dsp:nvSpPr>
      <dsp:spPr>
        <a:xfrm>
          <a:off x="8509342"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User governance for access to Marketplace</a:t>
          </a:r>
          <a:endParaRPr lang="en-US" sz="1500" kern="1200"/>
        </a:p>
      </dsp:txBody>
      <dsp:txXfrm>
        <a:off x="8509342" y="3007439"/>
        <a:ext cx="2376177"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96309-307D-419A-9FDE-45C362E45B26}">
      <dsp:nvSpPr>
        <dsp:cNvPr id="0" name=""/>
        <dsp:cNvSpPr/>
      </dsp:nvSpPr>
      <dsp:spPr>
        <a:xfrm>
          <a:off x="1377354" y="1351348"/>
          <a:ext cx="1101883"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C87A3B-BA36-46F8-9130-B0EDBA391AA1}">
      <dsp:nvSpPr>
        <dsp:cNvPr id="0" name=""/>
        <dsp:cNvSpPr/>
      </dsp:nvSpPr>
      <dsp:spPr>
        <a:xfrm>
          <a:off x="2545351" y="1258824"/>
          <a:ext cx="126716" cy="23796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F122252-A20A-4D52-AB98-EB6AE112FCD6}">
      <dsp:nvSpPr>
        <dsp:cNvPr id="0" name=""/>
        <dsp:cNvSpPr/>
      </dsp:nvSpPr>
      <dsp:spPr>
        <a:xfrm>
          <a:off x="661287" y="77305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1</a:t>
          </a:r>
        </a:p>
      </dsp:txBody>
      <dsp:txXfrm>
        <a:off x="830677" y="942442"/>
        <a:ext cx="817884" cy="817884"/>
      </dsp:txXfrm>
    </dsp:sp>
    <dsp:sp modelId="{93BCEE63-2FF6-480C-8FCD-64418A85F710}">
      <dsp:nvSpPr>
        <dsp:cNvPr id="0" name=""/>
        <dsp:cNvSpPr/>
      </dsp:nvSpPr>
      <dsp:spPr>
        <a:xfrm>
          <a:off x="0"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Avoid unrestricted access</a:t>
          </a:r>
          <a:endParaRPr lang="en-US" sz="2000" kern="1200"/>
        </a:p>
      </dsp:txBody>
      <dsp:txXfrm>
        <a:off x="0" y="2488435"/>
        <a:ext cx="2479238" cy="1572480"/>
      </dsp:txXfrm>
    </dsp:sp>
    <dsp:sp modelId="{532342A5-C2D6-45AE-A80B-2035FDD6726A}">
      <dsp:nvSpPr>
        <dsp:cNvPr id="0" name=""/>
        <dsp:cNvSpPr/>
      </dsp:nvSpPr>
      <dsp:spPr>
        <a:xfrm>
          <a:off x="2754709" y="1351319"/>
          <a:ext cx="2479238"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10F074-381D-4F64-A4BD-5CF36F205629}">
      <dsp:nvSpPr>
        <dsp:cNvPr id="0" name=""/>
        <dsp:cNvSpPr/>
      </dsp:nvSpPr>
      <dsp:spPr>
        <a:xfrm>
          <a:off x="5300061" y="1258796"/>
          <a:ext cx="126716" cy="23800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FE8937-0939-42F9-8CC9-217D94E69F02}">
      <dsp:nvSpPr>
        <dsp:cNvPr id="0" name=""/>
        <dsp:cNvSpPr/>
      </dsp:nvSpPr>
      <dsp:spPr>
        <a:xfrm>
          <a:off x="3415996" y="77302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2</a:t>
          </a:r>
        </a:p>
      </dsp:txBody>
      <dsp:txXfrm>
        <a:off x="3585386" y="942412"/>
        <a:ext cx="817884" cy="817884"/>
      </dsp:txXfrm>
    </dsp:sp>
    <dsp:sp modelId="{2F6F9E24-AB1B-43F6-B7EE-6D67E8D36A80}">
      <dsp:nvSpPr>
        <dsp:cNvPr id="0" name=""/>
        <dsp:cNvSpPr/>
      </dsp:nvSpPr>
      <dsp:spPr>
        <a:xfrm>
          <a:off x="2754709" y="2095283"/>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Have a subset of products</a:t>
          </a:r>
          <a:endParaRPr lang="en-US" sz="2000" kern="1200"/>
        </a:p>
      </dsp:txBody>
      <dsp:txXfrm>
        <a:off x="2754709" y="2488403"/>
        <a:ext cx="2479238" cy="1572480"/>
      </dsp:txXfrm>
    </dsp:sp>
    <dsp:sp modelId="{0C18A599-53E6-41A4-8CF6-18D261CE5671}">
      <dsp:nvSpPr>
        <dsp:cNvPr id="0" name=""/>
        <dsp:cNvSpPr/>
      </dsp:nvSpPr>
      <dsp:spPr>
        <a:xfrm>
          <a:off x="5509418" y="1351332"/>
          <a:ext cx="2479238"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BAA590E-552A-4C24-960E-CC35C613CE64}">
      <dsp:nvSpPr>
        <dsp:cNvPr id="0" name=""/>
        <dsp:cNvSpPr/>
      </dsp:nvSpPr>
      <dsp:spPr>
        <a:xfrm>
          <a:off x="8054770" y="1258808"/>
          <a:ext cx="126716" cy="238012"/>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C29AA-23D2-4F52-8987-3C35D1678CD0}">
      <dsp:nvSpPr>
        <dsp:cNvPr id="0" name=""/>
        <dsp:cNvSpPr/>
      </dsp:nvSpPr>
      <dsp:spPr>
        <a:xfrm>
          <a:off x="6170706"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3</a:t>
          </a:r>
        </a:p>
      </dsp:txBody>
      <dsp:txXfrm>
        <a:off x="6340096" y="942426"/>
        <a:ext cx="817884" cy="817884"/>
      </dsp:txXfrm>
    </dsp:sp>
    <dsp:sp modelId="{053BAE7E-A75F-4C6A-9ED3-9FD03710B866}">
      <dsp:nvSpPr>
        <dsp:cNvPr id="0" name=""/>
        <dsp:cNvSpPr/>
      </dsp:nvSpPr>
      <dsp:spPr>
        <a:xfrm>
          <a:off x="550941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Tailor the marketplace for organizational needs</a:t>
          </a:r>
          <a:endParaRPr lang="en-US" sz="2000" kern="1200"/>
        </a:p>
      </dsp:txBody>
      <dsp:txXfrm>
        <a:off x="5509418" y="2488435"/>
        <a:ext cx="2479238" cy="1572480"/>
      </dsp:txXfrm>
    </dsp:sp>
    <dsp:sp modelId="{541B1AC1-E0D8-4DA3-9693-AF574AD410C7}">
      <dsp:nvSpPr>
        <dsp:cNvPr id="0" name=""/>
        <dsp:cNvSpPr/>
      </dsp:nvSpPr>
      <dsp:spPr>
        <a:xfrm>
          <a:off x="8264128" y="1351332"/>
          <a:ext cx="1239619"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59BFEEC-CBFC-42E7-AC37-54ED890E9A63}">
      <dsp:nvSpPr>
        <dsp:cNvPr id="0" name=""/>
        <dsp:cNvSpPr/>
      </dsp:nvSpPr>
      <dsp:spPr>
        <a:xfrm>
          <a:off x="8925415"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4</a:t>
          </a:r>
        </a:p>
      </dsp:txBody>
      <dsp:txXfrm>
        <a:off x="9094805" y="942426"/>
        <a:ext cx="817884" cy="817884"/>
      </dsp:txXfrm>
    </dsp:sp>
    <dsp:sp modelId="{193D835A-B190-4097-BB37-EBD8EFCA5B58}">
      <dsp:nvSpPr>
        <dsp:cNvPr id="0" name=""/>
        <dsp:cNvSpPr/>
      </dsp:nvSpPr>
      <dsp:spPr>
        <a:xfrm>
          <a:off x="826412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Create specific team catalogs at the subscription level</a:t>
          </a:r>
          <a:endParaRPr lang="en-US" sz="2000" kern="1200"/>
        </a:p>
      </dsp:txBody>
      <dsp:txXfrm>
        <a:off x="8264128" y="2488435"/>
        <a:ext cx="2479238" cy="1572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BE902-140E-43C4-8CAE-B7EB3D2A7223}">
      <dsp:nvSpPr>
        <dsp:cNvPr id="0" name=""/>
        <dsp:cNvSpPr/>
      </dsp:nvSpPr>
      <dsp:spPr>
        <a:xfrm>
          <a:off x="0" y="0"/>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62DAD4-9FDC-45A9-9AE3-78751362B493}">
      <dsp:nvSpPr>
        <dsp:cNvPr id="0" name=""/>
        <dsp:cNvSpPr/>
      </dsp:nvSpPr>
      <dsp:spPr>
        <a:xfrm>
          <a:off x="0" y="0"/>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dirty="0"/>
            <a:t>Blocks products from purchase in public marketplace (exceptions: of Microsoft published and endorsed Linux distributions)</a:t>
          </a:r>
          <a:endParaRPr lang="en-US" sz="2900" kern="1200" dirty="0"/>
        </a:p>
      </dsp:txBody>
      <dsp:txXfrm>
        <a:off x="0" y="0"/>
        <a:ext cx="11018837" cy="1208484"/>
      </dsp:txXfrm>
    </dsp:sp>
    <dsp:sp modelId="{8EF03BD3-77B9-47AC-A999-C8C8C4C9C185}">
      <dsp:nvSpPr>
        <dsp:cNvPr id="0" name=""/>
        <dsp:cNvSpPr/>
      </dsp:nvSpPr>
      <dsp:spPr>
        <a:xfrm>
          <a:off x="0" y="1208484"/>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0B2B12-A86F-44B5-85E0-CE99A74E8F85}">
      <dsp:nvSpPr>
        <dsp:cNvPr id="0" name=""/>
        <dsp:cNvSpPr/>
      </dsp:nvSpPr>
      <dsp:spPr>
        <a:xfrm>
          <a:off x="0" y="1208484"/>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Users submit requests to add a product to the allowlist</a:t>
          </a:r>
          <a:endParaRPr lang="en-US" sz="2900" kern="1200"/>
        </a:p>
      </dsp:txBody>
      <dsp:txXfrm>
        <a:off x="0" y="1208484"/>
        <a:ext cx="11018837" cy="1208484"/>
      </dsp:txXfrm>
    </dsp:sp>
    <dsp:sp modelId="{8398ADA1-D379-4DD1-8756-E9B8F775C25C}">
      <dsp:nvSpPr>
        <dsp:cNvPr id="0" name=""/>
        <dsp:cNvSpPr/>
      </dsp:nvSpPr>
      <dsp:spPr>
        <a:xfrm>
          <a:off x="0" y="2416969"/>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7FAB6-F0C4-43DC-B314-AEBAAEFBC348}">
      <dsp:nvSpPr>
        <dsp:cNvPr id="0" name=""/>
        <dsp:cNvSpPr/>
      </dsp:nvSpPr>
      <dsp:spPr>
        <a:xfrm>
          <a:off x="0" y="2416969"/>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Marketplace administrator has authority to approve request</a:t>
          </a:r>
          <a:endParaRPr lang="en-US" sz="2900" kern="1200"/>
        </a:p>
      </dsp:txBody>
      <dsp:txXfrm>
        <a:off x="0" y="2416969"/>
        <a:ext cx="11018837" cy="1208484"/>
      </dsp:txXfrm>
    </dsp:sp>
    <dsp:sp modelId="{CB3FE173-EA37-4B0F-AE25-C7F4DEE94519}">
      <dsp:nvSpPr>
        <dsp:cNvPr id="0" name=""/>
        <dsp:cNvSpPr/>
      </dsp:nvSpPr>
      <dsp:spPr>
        <a:xfrm>
          <a:off x="0" y="3625453"/>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721C8-F77C-4A91-857C-106EBAF30D3C}">
      <dsp:nvSpPr>
        <dsp:cNvPr id="0" name=""/>
        <dsp:cNvSpPr/>
      </dsp:nvSpPr>
      <dsp:spPr>
        <a:xfrm>
          <a:off x="0" y="3625453"/>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Private offers can be automatically enabled, if configured to</a:t>
          </a:r>
          <a:endParaRPr lang="en-US" sz="2900" kern="1200"/>
        </a:p>
      </dsp:txBody>
      <dsp:txXfrm>
        <a:off x="0" y="3625453"/>
        <a:ext cx="11018837" cy="12084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D211D-10BB-400E-BC0C-3BDFB2F913A8}">
      <dsp:nvSpPr>
        <dsp:cNvPr id="0" name=""/>
        <dsp:cNvSpPr/>
      </dsp:nvSpPr>
      <dsp:spPr>
        <a:xfrm rot="5400000">
          <a:off x="6549625" y="-2346988"/>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Role-based access control is within subscription</a:t>
          </a:r>
          <a:endParaRPr lang="en-US" sz="2000" kern="1200"/>
        </a:p>
        <a:p>
          <a:pPr marL="228600" lvl="1" indent="-228600" algn="l" defTabSz="889000">
            <a:lnSpc>
              <a:spcPct val="90000"/>
            </a:lnSpc>
            <a:spcBef>
              <a:spcPct val="0"/>
            </a:spcBef>
            <a:spcAft>
              <a:spcPct val="15000"/>
            </a:spcAft>
            <a:buChar char="•"/>
          </a:pPr>
          <a:r>
            <a:rPr lang="en-US" sz="2000" kern="1200" baseline="0"/>
            <a:t>Anyone with subscription owner/contributor permissions can purchase</a:t>
          </a:r>
          <a:endParaRPr lang="en-US" sz="2000" kern="1200"/>
        </a:p>
        <a:p>
          <a:pPr marL="228600" lvl="1" indent="-228600" algn="l" defTabSz="889000">
            <a:lnSpc>
              <a:spcPct val="90000"/>
            </a:lnSpc>
            <a:spcBef>
              <a:spcPct val="0"/>
            </a:spcBef>
            <a:spcAft>
              <a:spcPct val="15000"/>
            </a:spcAft>
            <a:buChar char="•"/>
          </a:pPr>
          <a:r>
            <a:rPr lang="en-US" sz="2000" kern="1200" baseline="0" dirty="0"/>
            <a:t>No "out of the box" integration with enterprise procurement or workflow</a:t>
          </a:r>
          <a:endParaRPr lang="en-US" sz="2000" kern="1200" dirty="0"/>
        </a:p>
      </dsp:txBody>
      <dsp:txXfrm rot="-5400000">
        <a:off x="3966782" y="327940"/>
        <a:ext cx="6959971" cy="1702198"/>
      </dsp:txXfrm>
    </dsp:sp>
    <dsp:sp modelId="{C17A61C0-9B07-499E-93CE-8DBF948A5B72}">
      <dsp:nvSpPr>
        <dsp:cNvPr id="0" name=""/>
        <dsp:cNvSpPr/>
      </dsp:nvSpPr>
      <dsp:spPr>
        <a:xfrm>
          <a:off x="0" y="59"/>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dirty="0"/>
            <a:t>Marketplace Limitations</a:t>
          </a:r>
          <a:endParaRPr lang="en-US" sz="2900" kern="1200" dirty="0"/>
        </a:p>
      </dsp:txBody>
      <dsp:txXfrm>
        <a:off x="115106" y="115165"/>
        <a:ext cx="3736569" cy="2127748"/>
      </dsp:txXfrm>
    </dsp:sp>
    <dsp:sp modelId="{00CF4A83-DEB6-4C79-A309-E1F6386EADA4}">
      <dsp:nvSpPr>
        <dsp:cNvPr id="0" name=""/>
        <dsp:cNvSpPr/>
      </dsp:nvSpPr>
      <dsp:spPr>
        <a:xfrm rot="5400000">
          <a:off x="6549625" y="128870"/>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Must be managed externally to the Azure portal</a:t>
          </a:r>
          <a:endParaRPr lang="en-US" sz="2000" kern="1200"/>
        </a:p>
        <a:p>
          <a:pPr marL="457200" lvl="2" indent="-228600" algn="l" defTabSz="889000">
            <a:lnSpc>
              <a:spcPct val="90000"/>
            </a:lnSpc>
            <a:spcBef>
              <a:spcPct val="0"/>
            </a:spcBef>
            <a:spcAft>
              <a:spcPct val="15000"/>
            </a:spcAft>
            <a:buChar char="•"/>
          </a:pPr>
          <a:r>
            <a:rPr lang="en-US" sz="2000" kern="1200" baseline="0"/>
            <a:t>Examples: Identifying who authorizes purchases</a:t>
          </a:r>
          <a:endParaRPr lang="en-US" sz="2000" kern="1200"/>
        </a:p>
        <a:p>
          <a:pPr marL="457200" lvl="2" indent="-228600" algn="l" defTabSz="889000">
            <a:lnSpc>
              <a:spcPct val="90000"/>
            </a:lnSpc>
            <a:spcBef>
              <a:spcPct val="0"/>
            </a:spcBef>
            <a:spcAft>
              <a:spcPct val="15000"/>
            </a:spcAft>
            <a:buChar char="•"/>
          </a:pPr>
          <a:r>
            <a:rPr lang="en-US" sz="2000" kern="1200" baseline="0"/>
            <a:t>Established approval hierarchies</a:t>
          </a:r>
          <a:endParaRPr lang="en-US" sz="2000" kern="1200"/>
        </a:p>
        <a:p>
          <a:pPr marL="457200" lvl="2" indent="-228600" algn="l" defTabSz="889000">
            <a:lnSpc>
              <a:spcPct val="90000"/>
            </a:lnSpc>
            <a:spcBef>
              <a:spcPct val="0"/>
            </a:spcBef>
            <a:spcAft>
              <a:spcPct val="15000"/>
            </a:spcAft>
            <a:buChar char="•"/>
          </a:pPr>
          <a:r>
            <a:rPr lang="en-US" sz="2000" kern="1200" baseline="0"/>
            <a:t>Determination of who executes purchase</a:t>
          </a:r>
          <a:endParaRPr lang="en-US" sz="2000" kern="1200"/>
        </a:p>
      </dsp:txBody>
      <dsp:txXfrm rot="-5400000">
        <a:off x="3966782" y="2803799"/>
        <a:ext cx="6959971" cy="1702198"/>
      </dsp:txXfrm>
    </dsp:sp>
    <dsp:sp modelId="{6611B5D6-ABA5-419E-B96D-0DE591D8C5FE}">
      <dsp:nvSpPr>
        <dsp:cNvPr id="0" name=""/>
        <dsp:cNvSpPr/>
      </dsp:nvSpPr>
      <dsp:spPr>
        <a:xfrm>
          <a:off x="0" y="2475918"/>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Organization must adhere to procurement policies and procedures</a:t>
          </a:r>
          <a:endParaRPr lang="en-US" sz="2900" kern="1200"/>
        </a:p>
      </dsp:txBody>
      <dsp:txXfrm>
        <a:off x="115106" y="2591024"/>
        <a:ext cx="3736569" cy="21277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11/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azure/active-directory/saas-apps/ariba-tutorial"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learn.microsoft.com/en-us/azure/active-directory/saas-apps/oracle-fusion-erp-tutorial" TargetMode="External"/><Relationship Id="rId5" Type="http://schemas.openxmlformats.org/officeDocument/2006/relationships/hyperlink" Target="https://learn.microsoft.com/en-us/azure/active-directory/saas-apps/coupa-tutorial" TargetMode="External"/><Relationship Id="rId4" Type="http://schemas.openxmlformats.org/officeDocument/2006/relationships/hyperlink" Target="https://learn.microsoft.com/en-us/azure/active-directory/saas-apps/servicenow-tutorial"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find-your-permissions-and-account-setting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learn.microsoft.com/en-us/marketplace/marketplace-procurement-technical-playbook#find-your-permissions-and-account-setting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5-lead-manage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a:latin typeface="Segoe UI"/>
                <a:ea typeface="Calibri" panose="020F0502020204030204" pitchFamily="34" charset="0"/>
                <a:cs typeface="Segoe UI"/>
              </a:rPr>
              <a:t>Review the learning objects with the participants. </a:t>
            </a:r>
          </a:p>
          <a:p>
            <a:pPr defTabSz="924916">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Tutorial: Azure Active Directory integration with Ariba - Microsoft </a:t>
            </a:r>
            <a:r>
              <a:rPr lang="en-US" err="1">
                <a:hlinkClick r:id="rId3"/>
              </a:rPr>
              <a:t>Entra</a:t>
            </a:r>
            <a:r>
              <a:rPr lang="en-US">
                <a:hlinkClick r:id="rId3"/>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4"/>
              </a:rPr>
              <a:t>Tutorial: Azure Active Directory single sign-on (SSO) integration with ServiceNow - Microsoft </a:t>
            </a:r>
            <a:r>
              <a:rPr lang="en-US" err="1">
                <a:hlinkClick r:id="rId4"/>
              </a:rPr>
              <a:t>Entra</a:t>
            </a:r>
            <a:r>
              <a:rPr lang="en-US">
                <a:hlinkClick r:id="rId4"/>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5"/>
              </a:rPr>
              <a:t>Tutorial: Azure Active Directory integration with Coupa - Microsoft </a:t>
            </a:r>
            <a:r>
              <a:rPr lang="en-US" err="1">
                <a:hlinkClick r:id="rId5"/>
              </a:rPr>
              <a:t>Entra</a:t>
            </a:r>
            <a:r>
              <a:rPr lang="en-US">
                <a:hlinkClick r:id="rId5"/>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6"/>
              </a:rPr>
              <a:t>Tutorial: Azure AD SSO integration with Oracle Fusion ERP - Microsoft </a:t>
            </a:r>
            <a:r>
              <a:rPr lang="en-US" err="1">
                <a:hlinkClick r:id="rId6"/>
              </a:rPr>
              <a:t>Entra</a:t>
            </a:r>
            <a:r>
              <a:rPr lang="en-US">
                <a:hlinkClick r:id="rId6"/>
              </a:rPr>
              <a:t> | Microsoft Learn</a:t>
            </a:r>
            <a:endParaRPr lang="en-US"/>
          </a:p>
          <a:p>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5</a:t>
            </a:fld>
            <a:endParaRPr lang="en-US"/>
          </a:p>
        </p:txBody>
      </p:sp>
    </p:spTree>
    <p:extLst>
      <p:ext uri="{BB962C8B-B14F-4D97-AF65-F5344CB8AC3E}">
        <p14:creationId xmlns:p14="http://schemas.microsoft.com/office/powerpoint/2010/main" val="484726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marketplace/private-offers-in-azure-marketplace</a:t>
            </a:r>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3906540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1</a:t>
            </a:fld>
            <a:endParaRPr lang="en-US"/>
          </a:p>
        </p:txBody>
      </p:sp>
    </p:spTree>
    <p:extLst>
      <p:ext uri="{BB962C8B-B14F-4D97-AF65-F5344CB8AC3E}">
        <p14:creationId xmlns:p14="http://schemas.microsoft.com/office/powerpoint/2010/main" val="2714033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22800777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reate and manage Private Azure Marketplace collections in the Azure portal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1700656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856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p>
          <a:p>
            <a:r>
              <a:rPr lang="en-US">
                <a:hlinkClick r:id="rId4"/>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3393426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1</a:t>
            </a:fld>
            <a:endParaRPr lang="en-US"/>
          </a:p>
        </p:txBody>
      </p:sp>
    </p:spTree>
    <p:extLst>
      <p:ext uri="{BB962C8B-B14F-4D97-AF65-F5344CB8AC3E}">
        <p14:creationId xmlns:p14="http://schemas.microsoft.com/office/powerpoint/2010/main" val="2101351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lead management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2</a:t>
            </a:fld>
            <a:endParaRPr lang="en-US"/>
          </a:p>
        </p:txBody>
      </p:sp>
    </p:spTree>
    <p:extLst>
      <p:ext uri="{BB962C8B-B14F-4D97-AF65-F5344CB8AC3E}">
        <p14:creationId xmlns:p14="http://schemas.microsoft.com/office/powerpoint/2010/main" val="8021702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11/14/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marketplace/private-offers-in-azure-marketplace"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hyperlink" Target="https://www.youtube.com/watch?v=TANUlgLuVqI" TargetMode="Externa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Commercial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4469C-FA2E-89F4-8275-78C7809263F1}"/>
              </a:ext>
            </a:extLst>
          </p:cNvPr>
          <p:cNvSpPr>
            <a:spLocks noGrp="1"/>
          </p:cNvSpPr>
          <p:nvPr>
            <p:ph type="title"/>
          </p:nvPr>
        </p:nvSpPr>
        <p:spPr>
          <a:xfrm>
            <a:off x="588263" y="457200"/>
            <a:ext cx="11018520" cy="553998"/>
          </a:xfrm>
        </p:spPr>
        <p:txBody>
          <a:bodyPr wrap="square" anchor="t">
            <a:normAutofit/>
          </a:bodyPr>
          <a:lstStyle/>
          <a:p>
            <a:r>
              <a:rPr lang="en-US"/>
              <a:t>Account settings demo</a:t>
            </a:r>
          </a:p>
        </p:txBody>
      </p:sp>
      <p:graphicFrame>
        <p:nvGraphicFramePr>
          <p:cNvPr id="6" name="Content Placeholder 2">
            <a:extLst>
              <a:ext uri="{FF2B5EF4-FFF2-40B4-BE49-F238E27FC236}">
                <a16:creationId xmlns:a16="http://schemas.microsoft.com/office/drawing/2014/main" id="{8F951D51-311C-2EFC-35E8-15B871457F00}"/>
              </a:ext>
            </a:extLst>
          </p:cNvPr>
          <p:cNvGraphicFramePr>
            <a:graphicFrameLocks noGrp="1"/>
          </p:cNvGraphicFramePr>
          <p:nvPr>
            <p:ph sz="quarter" idx="10"/>
            <p:extLst>
              <p:ext uri="{D42A27DB-BD31-4B8C-83A1-F6EECF244321}">
                <p14:modId xmlns:p14="http://schemas.microsoft.com/office/powerpoint/2010/main" val="156776070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9694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44AF7-A23F-1DD9-6E3C-EE7368917D77}"/>
              </a:ext>
            </a:extLst>
          </p:cNvPr>
          <p:cNvSpPr>
            <a:spLocks noGrp="1"/>
          </p:cNvSpPr>
          <p:nvPr>
            <p:ph type="title"/>
          </p:nvPr>
        </p:nvSpPr>
        <p:spPr>
          <a:xfrm>
            <a:off x="588263" y="457200"/>
            <a:ext cx="11018520" cy="553998"/>
          </a:xfrm>
        </p:spPr>
        <p:txBody>
          <a:bodyPr wrap="square" anchor="t">
            <a:normAutofit/>
          </a:bodyPr>
          <a:lstStyle/>
          <a:p>
            <a:r>
              <a:rPr lang="en-US"/>
              <a:t>User Consent to Applications</a:t>
            </a:r>
          </a:p>
        </p:txBody>
      </p:sp>
      <p:pic>
        <p:nvPicPr>
          <p:cNvPr id="4" name="Picture 3" descr="A screenshot of a computer&#10;&#10;Description automatically generated">
            <a:extLst>
              <a:ext uri="{FF2B5EF4-FFF2-40B4-BE49-F238E27FC236}">
                <a16:creationId xmlns:a16="http://schemas.microsoft.com/office/drawing/2014/main" id="{D26C38C8-22B0-0868-2D0E-669BDC2059B1}"/>
              </a:ext>
            </a:extLst>
          </p:cNvPr>
          <p:cNvPicPr>
            <a:picLocks noChangeAspect="1"/>
          </p:cNvPicPr>
          <p:nvPr/>
        </p:nvPicPr>
        <p:blipFill>
          <a:blip r:embed="rId3"/>
          <a:stretch>
            <a:fillRect/>
          </a:stretch>
        </p:blipFill>
        <p:spPr>
          <a:xfrm>
            <a:off x="584200" y="2966069"/>
            <a:ext cx="5211763" cy="1771999"/>
          </a:xfrm>
          <a:prstGeom prst="rect">
            <a:avLst/>
          </a:prstGeom>
          <a:noFill/>
        </p:spPr>
      </p:pic>
      <p:sp>
        <p:nvSpPr>
          <p:cNvPr id="3" name="Content Placeholder 2">
            <a:extLst>
              <a:ext uri="{FF2B5EF4-FFF2-40B4-BE49-F238E27FC236}">
                <a16:creationId xmlns:a16="http://schemas.microsoft.com/office/drawing/2014/main" id="{2E50BA7C-3255-BC69-812B-892217F5D36D}"/>
              </a:ext>
            </a:extLst>
          </p:cNvPr>
          <p:cNvSpPr>
            <a:spLocks noGrp="1"/>
          </p:cNvSpPr>
          <p:nvPr>
            <p:ph sz="quarter" idx="13"/>
          </p:nvPr>
        </p:nvSpPr>
        <p:spPr>
          <a:xfrm>
            <a:off x="6389688" y="1435100"/>
            <a:ext cx="5219700" cy="5170652"/>
          </a:xfrm>
        </p:spPr>
        <p:txBody>
          <a:bodyPr vert="horz" wrap="square" lIns="0" tIns="0" rIns="0" bIns="0" rtlCol="0">
            <a:normAutofit/>
          </a:bodyPr>
          <a:lstStyle/>
          <a:p>
            <a:pPr>
              <a:lnSpc>
                <a:spcPct val="90000"/>
              </a:lnSpc>
            </a:pPr>
            <a:r>
              <a:rPr lang="en-US" sz="1500"/>
              <a:t>Users need to grant permission for apps to access data</a:t>
            </a:r>
          </a:p>
          <a:p>
            <a:pPr>
              <a:lnSpc>
                <a:spcPct val="90000"/>
              </a:lnSpc>
            </a:pPr>
            <a:r>
              <a:rPr lang="en-US" sz="1500"/>
              <a:t>Settings can allow or deny users from granting these permissions</a:t>
            </a:r>
          </a:p>
          <a:p>
            <a:pPr>
              <a:lnSpc>
                <a:spcPct val="90000"/>
              </a:lnSpc>
            </a:pPr>
            <a:r>
              <a:rPr lang="en-US" sz="1500"/>
              <a:t>Configure user consent settings within </a:t>
            </a:r>
            <a:r>
              <a:rPr lang="en-US" sz="1500" err="1"/>
              <a:t>Entra</a:t>
            </a:r>
            <a:r>
              <a:rPr lang="en-US" sz="1500"/>
              <a:t> admin center</a:t>
            </a:r>
          </a:p>
          <a:p>
            <a:pPr>
              <a:lnSpc>
                <a:spcPct val="90000"/>
              </a:lnSpc>
            </a:pPr>
            <a:r>
              <a:rPr lang="en-US" sz="1500"/>
              <a:t>Prerequisites:</a:t>
            </a:r>
          </a:p>
          <a:p>
            <a:pPr lvl="1">
              <a:lnSpc>
                <a:spcPct val="90000"/>
              </a:lnSpc>
            </a:pPr>
            <a:r>
              <a:rPr lang="en-US" sz="1500"/>
              <a:t>User account</a:t>
            </a:r>
          </a:p>
          <a:p>
            <a:pPr lvl="1">
              <a:lnSpc>
                <a:spcPct val="90000"/>
              </a:lnSpc>
            </a:pPr>
            <a:r>
              <a:rPr lang="en-US" sz="1500"/>
              <a:t>Global Administrator role for configuration</a:t>
            </a:r>
          </a:p>
          <a:p>
            <a:pPr>
              <a:lnSpc>
                <a:spcPct val="90000"/>
              </a:lnSpc>
              <a:spcBef>
                <a:spcPts val="20"/>
              </a:spcBef>
            </a:pPr>
            <a:r>
              <a:rPr lang="en-US" sz="1500"/>
              <a:t>To configure user consent settings through the Microsoft </a:t>
            </a:r>
            <a:r>
              <a:rPr lang="en-US" sz="1500" err="1"/>
              <a:t>Entra</a:t>
            </a:r>
            <a:r>
              <a:rPr lang="en-US" sz="1500"/>
              <a:t> admin center:</a:t>
            </a:r>
          </a:p>
          <a:p>
            <a:pPr marL="685800" lvl="1" indent="-457200">
              <a:lnSpc>
                <a:spcPct val="90000"/>
              </a:lnSpc>
              <a:spcBef>
                <a:spcPts val="20"/>
              </a:spcBef>
              <a:buAutoNum type="arabicPeriod"/>
            </a:pPr>
            <a:r>
              <a:rPr lang="en-US" sz="1500"/>
              <a:t>Sign in to the Microsoft </a:t>
            </a:r>
            <a:r>
              <a:rPr lang="en-US" sz="1500" err="1"/>
              <a:t>Entra</a:t>
            </a:r>
            <a:r>
              <a:rPr lang="en-US" sz="1500"/>
              <a:t> admin center as </a:t>
            </a:r>
            <a:r>
              <a:rPr lang="en-US" sz="1500" err="1"/>
              <a:t>as</a:t>
            </a:r>
            <a:r>
              <a:rPr lang="en-US" sz="1500"/>
              <a:t> a Global Administrator.</a:t>
            </a:r>
          </a:p>
          <a:p>
            <a:pPr marL="685800" lvl="1" indent="-457200">
              <a:lnSpc>
                <a:spcPct val="90000"/>
              </a:lnSpc>
              <a:spcBef>
                <a:spcPts val="20"/>
              </a:spcBef>
              <a:buAutoNum type="arabicPeriod"/>
            </a:pPr>
            <a:r>
              <a:rPr lang="en-US" sz="1500"/>
              <a:t>Browse to Identity &gt; Applications &gt; Enterprise applications &gt; Consent and permissions &gt; User consent settings.</a:t>
            </a:r>
          </a:p>
          <a:p>
            <a:pPr marL="685800" lvl="1" indent="-457200">
              <a:lnSpc>
                <a:spcPct val="90000"/>
              </a:lnSpc>
              <a:spcBef>
                <a:spcPts val="20"/>
              </a:spcBef>
              <a:buAutoNum type="arabicPeriod"/>
            </a:pPr>
            <a:r>
              <a:rPr lang="en-US" sz="1500"/>
              <a:t>Under User consent for </a:t>
            </a:r>
            <a:r>
              <a:rPr lang="en-US" sz="1800"/>
              <a:t>applications</a:t>
            </a:r>
            <a:r>
              <a:rPr lang="en-US" sz="1500"/>
              <a:t>, select which consent setting you want to configure for all users.</a:t>
            </a:r>
          </a:p>
          <a:p>
            <a:pPr marL="685800" lvl="1" indent="-457200">
              <a:lnSpc>
                <a:spcPct val="90000"/>
              </a:lnSpc>
              <a:spcBef>
                <a:spcPts val="20"/>
              </a:spcBef>
              <a:buAutoNum type="arabicPeriod"/>
            </a:pPr>
            <a:r>
              <a:rPr lang="en-US" sz="1500"/>
              <a:t>Select Save to save your settings.</a:t>
            </a:r>
          </a:p>
          <a:p>
            <a:pPr marL="685800" lvl="1" indent="-457200">
              <a:lnSpc>
                <a:spcPct val="90000"/>
              </a:lnSpc>
              <a:buAutoNum type="arabicPeriod"/>
            </a:pPr>
            <a:endParaRPr lang="en-US" sz="1500"/>
          </a:p>
        </p:txBody>
      </p:sp>
    </p:spTree>
    <p:extLst>
      <p:ext uri="{BB962C8B-B14F-4D97-AF65-F5344CB8AC3E}">
        <p14:creationId xmlns:p14="http://schemas.microsoft.com/office/powerpoint/2010/main" val="8482035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3600" spc="-50">
                <a:ln w="3175">
                  <a:noFill/>
                </a:ln>
                <a:latin typeface="+mj-lt"/>
                <a:cs typeface="Segoe UI"/>
              </a:rPr>
              <a:t>Commercial marketplace lead management</a:t>
            </a: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a:t>Connecting your Customer Relationship Management (CRM) system to get customer leads from your commercial marketplace offer</a:t>
            </a:r>
          </a:p>
          <a:p>
            <a:pPr>
              <a:lnSpc>
                <a:spcPct val="90000"/>
              </a:lnSpc>
            </a:pPr>
            <a:r>
              <a:rPr lang="en-US" sz="2200"/>
              <a:t>Offering a free trial or test drive of your offer so customers can test your solution</a:t>
            </a:r>
          </a:p>
          <a:p>
            <a:pPr>
              <a:lnSpc>
                <a:spcPct val="90000"/>
              </a:lnSpc>
            </a:pPr>
            <a:r>
              <a:rPr lang="en-US" sz="2200"/>
              <a:t>Integrating your software with Azure Active Directory for streamlined purchasing, fulfillment, and management of your solution for customers</a:t>
            </a:r>
          </a:p>
          <a:p>
            <a:pPr>
              <a:lnSpc>
                <a:spcPct val="90000"/>
              </a:lnSpc>
            </a:pPr>
            <a:r>
              <a:rPr lang="en-US" sz="220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38619862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40B-8499-E0C5-C508-35266E13B6E6}"/>
              </a:ext>
            </a:extLst>
          </p:cNvPr>
          <p:cNvSpPr>
            <a:spLocks noGrp="1"/>
          </p:cNvSpPr>
          <p:nvPr>
            <p:ph type="title"/>
          </p:nvPr>
        </p:nvSpPr>
        <p:spPr>
          <a:xfrm>
            <a:off x="588263" y="457200"/>
            <a:ext cx="11018520" cy="553998"/>
          </a:xfrm>
        </p:spPr>
        <p:txBody>
          <a:bodyPr wrap="square" anchor="t">
            <a:normAutofit/>
          </a:bodyPr>
          <a:lstStyle/>
          <a:p>
            <a:r>
              <a:rPr lang="en-US"/>
              <a:t>Procurement Solutions and Marketplace</a:t>
            </a:r>
          </a:p>
        </p:txBody>
      </p:sp>
      <p:graphicFrame>
        <p:nvGraphicFramePr>
          <p:cNvPr id="5" name="Content Placeholder 2">
            <a:extLst>
              <a:ext uri="{FF2B5EF4-FFF2-40B4-BE49-F238E27FC236}">
                <a16:creationId xmlns:a16="http://schemas.microsoft.com/office/drawing/2014/main" id="{A5BBB90B-5CC9-A280-14DC-2C91D4F347EE}"/>
              </a:ext>
            </a:extLst>
          </p:cNvPr>
          <p:cNvGraphicFramePr>
            <a:graphicFrameLocks noGrp="1"/>
          </p:cNvGraphicFramePr>
          <p:nvPr>
            <p:ph sz="quarter" idx="10"/>
            <p:extLst>
              <p:ext uri="{D42A27DB-BD31-4B8C-83A1-F6EECF244321}">
                <p14:modId xmlns:p14="http://schemas.microsoft.com/office/powerpoint/2010/main" val="335081760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15210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dirty="0">
                <a:cs typeface="Segoe UI"/>
              </a:rPr>
              <a:t>20 minute break</a:t>
            </a:r>
            <a:endParaRPr lang="en-US" dirty="0"/>
          </a:p>
        </p:txBody>
      </p:sp>
    </p:spTree>
    <p:extLst>
      <p:ext uri="{BB962C8B-B14F-4D97-AF65-F5344CB8AC3E}">
        <p14:creationId xmlns:p14="http://schemas.microsoft.com/office/powerpoint/2010/main" val="357240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7A4E4-C3FF-9DA3-1E01-6E7681781D01}"/>
              </a:ext>
            </a:extLst>
          </p:cNvPr>
          <p:cNvSpPr>
            <a:spLocks noGrp="1"/>
          </p:cNvSpPr>
          <p:nvPr>
            <p:ph type="title"/>
          </p:nvPr>
        </p:nvSpPr>
        <p:spPr/>
        <p:txBody>
          <a:bodyPr/>
          <a:lstStyle/>
          <a:p>
            <a:r>
              <a:rPr lang="en-US" dirty="0">
                <a:cs typeface="Segoe UI"/>
              </a:rPr>
              <a:t>Labs – </a:t>
            </a:r>
            <a:r>
              <a:rPr lang="en-US" dirty="0" err="1">
                <a:cs typeface="Segoe UI"/>
              </a:rPr>
              <a:t>Entra</a:t>
            </a:r>
            <a:r>
              <a:rPr lang="en-US" dirty="0">
                <a:cs typeface="Segoe UI"/>
              </a:rPr>
              <a:t> ID integration</a:t>
            </a:r>
          </a:p>
        </p:txBody>
      </p:sp>
      <p:sp>
        <p:nvSpPr>
          <p:cNvPr id="3" name="Content Placeholder 2">
            <a:extLst>
              <a:ext uri="{FF2B5EF4-FFF2-40B4-BE49-F238E27FC236}">
                <a16:creationId xmlns:a16="http://schemas.microsoft.com/office/drawing/2014/main" id="{675F152E-D720-B366-A514-0FB945F73594}"/>
              </a:ext>
            </a:extLst>
          </p:cNvPr>
          <p:cNvSpPr>
            <a:spLocks noGrp="1"/>
          </p:cNvSpPr>
          <p:nvPr>
            <p:ph sz="quarter" idx="10"/>
          </p:nvPr>
        </p:nvSpPr>
        <p:spPr>
          <a:xfrm>
            <a:off x="584200" y="1435100"/>
            <a:ext cx="11018838" cy="4998291"/>
          </a:xfrm>
        </p:spPr>
        <p:txBody>
          <a:bodyPr vert="horz" wrap="square" lIns="0" tIns="0" rIns="0" bIns="0" rtlCol="0" anchor="t">
            <a:spAutoFit/>
          </a:bodyPr>
          <a:lstStyle/>
          <a:p>
            <a:r>
              <a:rPr lang="en-US">
                <a:cs typeface="Segoe UI"/>
              </a:rPr>
              <a:t>After these labs, you will know:</a:t>
            </a:r>
            <a:endParaRPr lang="en-US" dirty="0">
              <a:cs typeface="Segoe UI"/>
            </a:endParaRPr>
          </a:p>
          <a:p>
            <a:pPr lvl="1"/>
            <a:r>
              <a:rPr lang="en-US" dirty="0">
                <a:ea typeface="+mn-lt"/>
                <a:cs typeface="+mn-lt"/>
              </a:rPr>
              <a:t>Control in Entra ID (Azure AD) who has access to applications.</a:t>
            </a:r>
            <a:endParaRPr lang="en-US" dirty="0">
              <a:cs typeface="Segoe UI"/>
            </a:endParaRPr>
          </a:p>
          <a:p>
            <a:pPr lvl="1"/>
            <a:r>
              <a:rPr lang="en-US" dirty="0">
                <a:ea typeface="+mn-lt"/>
                <a:cs typeface="+mn-lt"/>
              </a:rPr>
              <a:t>Enable your users to be automatically signed-in to applications with their Azure AD accounts.</a:t>
            </a:r>
            <a:endParaRPr lang="en-US" dirty="0"/>
          </a:p>
          <a:p>
            <a:pPr lvl="1"/>
            <a:r>
              <a:rPr lang="en-US" dirty="0">
                <a:ea typeface="+mn-lt"/>
                <a:cs typeface="+mn-lt"/>
              </a:rPr>
              <a:t>Manage your accounts in one central location - the Azure portal.</a:t>
            </a:r>
            <a:endParaRPr lang="en-US" dirty="0"/>
          </a:p>
          <a:p>
            <a:r>
              <a:rPr lang="en-US">
                <a:cs typeface="Segoe UI"/>
              </a:rPr>
              <a:t>Applications for these labs:</a:t>
            </a:r>
            <a:endParaRPr lang="en-US" dirty="0"/>
          </a:p>
          <a:p>
            <a:pPr lvl="1"/>
            <a:r>
              <a:rPr lang="en-US" dirty="0">
                <a:cs typeface="Segoe UI"/>
              </a:rPr>
              <a:t>SAP Ariba</a:t>
            </a:r>
            <a:endParaRPr lang="en-US"/>
          </a:p>
          <a:p>
            <a:pPr lvl="1"/>
            <a:r>
              <a:rPr lang="en-US" dirty="0">
                <a:cs typeface="Segoe UI"/>
              </a:rPr>
              <a:t>Service NOW</a:t>
            </a:r>
            <a:endParaRPr lang="en-US"/>
          </a:p>
          <a:p>
            <a:pPr lvl="1"/>
            <a:r>
              <a:rPr lang="en-US" dirty="0">
                <a:cs typeface="Segoe UI"/>
              </a:rPr>
              <a:t>Coupa</a:t>
            </a:r>
          </a:p>
          <a:p>
            <a:pPr lvl="1"/>
            <a:r>
              <a:rPr lang="en-US" dirty="0">
                <a:cs typeface="Segoe UI"/>
              </a:rPr>
              <a:t>Oracle ERP</a:t>
            </a:r>
          </a:p>
          <a:p>
            <a:endParaRPr lang="en-US" dirty="0"/>
          </a:p>
          <a:p>
            <a:pPr marL="0" indent="0">
              <a:buNone/>
            </a:pPr>
            <a:r>
              <a:rPr lang="en-US" dirty="0">
                <a:cs typeface="Segoe UI"/>
              </a:rPr>
              <a:t>*NOTE: These labs can be customized based on the applications that that customer utilizes.</a:t>
            </a:r>
            <a:endParaRPr lang="en-US" dirty="0"/>
          </a:p>
        </p:txBody>
      </p:sp>
    </p:spTree>
    <p:extLst>
      <p:ext uri="{BB962C8B-B14F-4D97-AF65-F5344CB8AC3E}">
        <p14:creationId xmlns:p14="http://schemas.microsoft.com/office/powerpoint/2010/main" val="252457705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7B20E-BDDA-FD42-628C-C0761EA21203}"/>
              </a:ext>
            </a:extLst>
          </p:cNvPr>
          <p:cNvSpPr>
            <a:spLocks noGrp="1"/>
          </p:cNvSpPr>
          <p:nvPr>
            <p:ph type="title"/>
          </p:nvPr>
        </p:nvSpPr>
        <p:spPr/>
        <p:txBody>
          <a:bodyPr/>
          <a:lstStyle/>
          <a:p>
            <a:r>
              <a:rPr lang="en-US" dirty="0"/>
              <a:t>Private Offers</a:t>
            </a:r>
          </a:p>
        </p:txBody>
      </p:sp>
      <p:sp>
        <p:nvSpPr>
          <p:cNvPr id="3" name="Content Placeholder 2">
            <a:extLst>
              <a:ext uri="{FF2B5EF4-FFF2-40B4-BE49-F238E27FC236}">
                <a16:creationId xmlns:a16="http://schemas.microsoft.com/office/drawing/2014/main" id="{69CA874A-9652-F723-DEFE-FBA3B96CA7BC}"/>
              </a:ext>
            </a:extLst>
          </p:cNvPr>
          <p:cNvSpPr>
            <a:spLocks noGrp="1"/>
          </p:cNvSpPr>
          <p:nvPr>
            <p:ph sz="quarter" idx="10"/>
          </p:nvPr>
        </p:nvSpPr>
        <p:spPr>
          <a:xfrm>
            <a:off x="584200" y="1435100"/>
            <a:ext cx="11018838" cy="4419671"/>
          </a:xfrm>
        </p:spPr>
        <p:txBody>
          <a:bodyPr/>
          <a:lstStyle/>
          <a:p>
            <a:r>
              <a:rPr lang="en-US" dirty="0"/>
              <a:t>Engagement with Microsoft partner and their solution</a:t>
            </a:r>
          </a:p>
          <a:p>
            <a:r>
              <a:rPr lang="en-US" dirty="0"/>
              <a:t>Procuring a private offer is a three (3) step process:</a:t>
            </a:r>
          </a:p>
          <a:p>
            <a:pPr lvl="1"/>
            <a:r>
              <a:rPr lang="en-US" dirty="0"/>
              <a:t>1. Provide billing account ID and contact information to the partner</a:t>
            </a:r>
          </a:p>
          <a:p>
            <a:pPr lvl="1"/>
            <a:r>
              <a:rPr lang="en-US" dirty="0"/>
              <a:t>2. Accept the private offer</a:t>
            </a:r>
          </a:p>
          <a:p>
            <a:pPr lvl="1"/>
            <a:r>
              <a:rPr lang="en-US" dirty="0"/>
              <a:t>3. Purchase the private offer</a:t>
            </a:r>
          </a:p>
          <a:p>
            <a:r>
              <a:rPr lang="en-US" dirty="0"/>
              <a:t>Requires </a:t>
            </a:r>
            <a:r>
              <a:rPr lang="en-US" dirty="0" err="1"/>
              <a:t>Entra</a:t>
            </a:r>
            <a:r>
              <a:rPr lang="en-US" dirty="0"/>
              <a:t> permission for SSO to Microsoft partner solutions through user consent</a:t>
            </a:r>
          </a:p>
          <a:p>
            <a:pPr lvl="1"/>
            <a:r>
              <a:rPr lang="en-US" dirty="0"/>
              <a:t>Within Applications -&gt; Enterprise applications -&gt; Consent and permissions -&gt; User consent settings</a:t>
            </a:r>
          </a:p>
          <a:p>
            <a:pPr lvl="1"/>
            <a:r>
              <a:rPr lang="en-US" dirty="0"/>
              <a:t>Select the consent setting</a:t>
            </a:r>
          </a:p>
          <a:p>
            <a:pPr lvl="1"/>
            <a:r>
              <a:rPr lang="en-US" dirty="0"/>
              <a:t>Save settings</a:t>
            </a:r>
          </a:p>
        </p:txBody>
      </p:sp>
    </p:spTree>
    <p:extLst>
      <p:ext uri="{BB962C8B-B14F-4D97-AF65-F5344CB8AC3E}">
        <p14:creationId xmlns:p14="http://schemas.microsoft.com/office/powerpoint/2010/main" val="29900521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74790-19A4-EFC1-BD1E-9D989E35927B}"/>
              </a:ext>
            </a:extLst>
          </p:cNvPr>
          <p:cNvSpPr>
            <a:spLocks noGrp="1"/>
          </p:cNvSpPr>
          <p:nvPr>
            <p:ph type="title"/>
          </p:nvPr>
        </p:nvSpPr>
        <p:spPr/>
        <p:txBody>
          <a:bodyPr/>
          <a:lstStyle/>
          <a:p>
            <a:r>
              <a:rPr lang="en-US" dirty="0"/>
              <a:t>Walk through of private offers</a:t>
            </a:r>
          </a:p>
        </p:txBody>
      </p:sp>
      <p:sp>
        <p:nvSpPr>
          <p:cNvPr id="3" name="Content Placeholder 2">
            <a:extLst>
              <a:ext uri="{FF2B5EF4-FFF2-40B4-BE49-F238E27FC236}">
                <a16:creationId xmlns:a16="http://schemas.microsoft.com/office/drawing/2014/main" id="{8E9FBFAB-26A7-4035-93DF-812906DE89B7}"/>
              </a:ext>
            </a:extLst>
          </p:cNvPr>
          <p:cNvSpPr>
            <a:spLocks noGrp="1"/>
          </p:cNvSpPr>
          <p:nvPr>
            <p:ph sz="quarter" idx="10"/>
          </p:nvPr>
        </p:nvSpPr>
        <p:spPr>
          <a:xfrm>
            <a:off x="584200" y="1435100"/>
            <a:ext cx="11018838" cy="1378839"/>
          </a:xfrm>
        </p:spPr>
        <p:txBody>
          <a:bodyPr/>
          <a:lstStyle/>
          <a:p>
            <a:r>
              <a:rPr lang="en-US" dirty="0">
                <a:hlinkClick r:id="rId3"/>
              </a:rPr>
              <a:t>https://learn.microsoft.com/en-us/marketplace/private-offers-in-azure-marketplace</a:t>
            </a:r>
            <a:endParaRPr lang="en-US" dirty="0"/>
          </a:p>
          <a:p>
            <a:endParaRPr lang="en-US" dirty="0"/>
          </a:p>
        </p:txBody>
      </p:sp>
    </p:spTree>
    <p:extLst>
      <p:ext uri="{BB962C8B-B14F-4D97-AF65-F5344CB8AC3E}">
        <p14:creationId xmlns:p14="http://schemas.microsoft.com/office/powerpoint/2010/main" val="8700781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7B20E-BDDA-FD42-628C-C0761EA21203}"/>
              </a:ext>
            </a:extLst>
          </p:cNvPr>
          <p:cNvSpPr>
            <a:spLocks noGrp="1"/>
          </p:cNvSpPr>
          <p:nvPr>
            <p:ph type="title"/>
          </p:nvPr>
        </p:nvSpPr>
        <p:spPr/>
        <p:txBody>
          <a:bodyPr/>
          <a:lstStyle/>
          <a:p>
            <a:r>
              <a:rPr lang="en-US" dirty="0"/>
              <a:t>Private Offers customer experience</a:t>
            </a:r>
          </a:p>
        </p:txBody>
      </p:sp>
      <p:sp>
        <p:nvSpPr>
          <p:cNvPr id="3" name="Content Placeholder 2">
            <a:extLst>
              <a:ext uri="{FF2B5EF4-FFF2-40B4-BE49-F238E27FC236}">
                <a16:creationId xmlns:a16="http://schemas.microsoft.com/office/drawing/2014/main" id="{69CA874A-9652-F723-DEFE-FBA3B96CA7BC}"/>
              </a:ext>
            </a:extLst>
          </p:cNvPr>
          <p:cNvSpPr>
            <a:spLocks noGrp="1"/>
          </p:cNvSpPr>
          <p:nvPr>
            <p:ph sz="quarter" idx="10"/>
          </p:nvPr>
        </p:nvSpPr>
        <p:spPr>
          <a:xfrm>
            <a:off x="584200" y="1435100"/>
            <a:ext cx="11018838" cy="947952"/>
          </a:xfrm>
        </p:spPr>
        <p:txBody>
          <a:bodyPr/>
          <a:lstStyle/>
          <a:p>
            <a:r>
              <a:rPr lang="en-US" dirty="0">
                <a:hlinkClick r:id="rId2"/>
              </a:rPr>
              <a:t>https://www.youtube.com/watch?v=TANUlgLuVqI</a:t>
            </a:r>
            <a:endParaRPr lang="en-US" dirty="0"/>
          </a:p>
          <a:p>
            <a:endParaRPr lang="en-US" dirty="0"/>
          </a:p>
        </p:txBody>
      </p:sp>
    </p:spTree>
    <p:extLst>
      <p:ext uri="{BB962C8B-B14F-4D97-AF65-F5344CB8AC3E}">
        <p14:creationId xmlns:p14="http://schemas.microsoft.com/office/powerpoint/2010/main" val="134825723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45 minute break</a:t>
            </a:r>
            <a:endParaRPr lang="en-US"/>
          </a:p>
        </p:txBody>
      </p:sp>
    </p:spTree>
    <p:extLst>
      <p:ext uri="{BB962C8B-B14F-4D97-AF65-F5344CB8AC3E}">
        <p14:creationId xmlns:p14="http://schemas.microsoft.com/office/powerpoint/2010/main" val="393304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In this workshop, you will participate in </a:t>
            </a:r>
            <a:r>
              <a:rPr lang="en-US" sz="1600" b="1">
                <a:solidFill>
                  <a:schemeClr val="accent1"/>
                </a:solidFill>
                <a:ea typeface="Times New Roman" panose="02020603050405020304" pitchFamily="18" charset="0"/>
              </a:rPr>
              <a:t>lecture and group activities</a:t>
            </a: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 to accomplish the following items:</a:t>
            </a:r>
            <a:r>
              <a:rPr lang="en-US" sz="1600" b="1">
                <a:solidFill>
                  <a:schemeClr val="accent1"/>
                </a:solidFill>
                <a:ea typeface="Times New Roman" panose="02020603050405020304" pitchFamily="18" charset="0"/>
              </a:rPr>
              <a:t> </a:t>
            </a:r>
            <a:endPar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a:cs typeface="Arial"/>
              </a:rPr>
              <a:t>Managing purchases and setting up limits.</a:t>
            </a:r>
            <a:endParaRPr lang="en-US"/>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F413-FA4A-5DAC-66E1-E02E10AE53D2}"/>
              </a:ext>
            </a:extLst>
          </p:cNvPr>
          <p:cNvSpPr>
            <a:spLocks noGrp="1"/>
          </p:cNvSpPr>
          <p:nvPr>
            <p:ph type="title"/>
          </p:nvPr>
        </p:nvSpPr>
        <p:spPr/>
        <p:txBody>
          <a:bodyPr/>
          <a:lstStyle/>
          <a:p>
            <a:r>
              <a:rPr lang="en-US">
                <a:cs typeface="Segoe UI"/>
              </a:rPr>
              <a:t>Governance and Procurement management</a:t>
            </a:r>
            <a:endParaRPr lang="en-US"/>
          </a:p>
        </p:txBody>
      </p:sp>
    </p:spTree>
    <p:extLst>
      <p:ext uri="{BB962C8B-B14F-4D97-AF65-F5344CB8AC3E}">
        <p14:creationId xmlns:p14="http://schemas.microsoft.com/office/powerpoint/2010/main" val="2409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5E71-8482-5C4A-1937-62180CED69B1}"/>
              </a:ext>
            </a:extLst>
          </p:cNvPr>
          <p:cNvSpPr>
            <a:spLocks noGrp="1"/>
          </p:cNvSpPr>
          <p:nvPr>
            <p:ph type="title"/>
          </p:nvPr>
        </p:nvSpPr>
        <p:spPr>
          <a:xfrm>
            <a:off x="588263" y="457200"/>
            <a:ext cx="11018520" cy="553998"/>
          </a:xfrm>
        </p:spPr>
        <p:txBody>
          <a:bodyPr wrap="square" anchor="t">
            <a:normAutofit/>
          </a:bodyPr>
          <a:lstStyle/>
          <a:p>
            <a:r>
              <a:rPr lang="en-US"/>
              <a:t>Governance of Product Inventory</a:t>
            </a:r>
          </a:p>
        </p:txBody>
      </p:sp>
      <p:graphicFrame>
        <p:nvGraphicFramePr>
          <p:cNvPr id="7" name="Content Placeholder 2">
            <a:extLst>
              <a:ext uri="{FF2B5EF4-FFF2-40B4-BE49-F238E27FC236}">
                <a16:creationId xmlns:a16="http://schemas.microsoft.com/office/drawing/2014/main" id="{A219546F-E536-A279-B526-1AE693C0FEBC}"/>
              </a:ext>
            </a:extLst>
          </p:cNvPr>
          <p:cNvGraphicFramePr>
            <a:graphicFrameLocks noGrp="1"/>
          </p:cNvGraphicFramePr>
          <p:nvPr>
            <p:ph sz="quarter" idx="10"/>
            <p:extLst>
              <p:ext uri="{D42A27DB-BD31-4B8C-83A1-F6EECF244321}">
                <p14:modId xmlns:p14="http://schemas.microsoft.com/office/powerpoint/2010/main" val="27611612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0297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B6354-2028-24B8-66E1-0D45962243CA}"/>
              </a:ext>
            </a:extLst>
          </p:cNvPr>
          <p:cNvSpPr>
            <a:spLocks noGrp="1"/>
          </p:cNvSpPr>
          <p:nvPr>
            <p:ph type="title"/>
          </p:nvPr>
        </p:nvSpPr>
        <p:spPr>
          <a:xfrm>
            <a:off x="588263" y="457200"/>
            <a:ext cx="11018520" cy="553998"/>
          </a:xfrm>
        </p:spPr>
        <p:txBody>
          <a:bodyPr wrap="square" anchor="t">
            <a:normAutofit/>
          </a:bodyPr>
          <a:lstStyle/>
          <a:p>
            <a:r>
              <a:rPr lang="en-US" dirty="0"/>
              <a:t>Private Marketplace</a:t>
            </a:r>
          </a:p>
        </p:txBody>
      </p:sp>
      <p:graphicFrame>
        <p:nvGraphicFramePr>
          <p:cNvPr id="11" name="Content Placeholder 2">
            <a:extLst>
              <a:ext uri="{FF2B5EF4-FFF2-40B4-BE49-F238E27FC236}">
                <a16:creationId xmlns:a16="http://schemas.microsoft.com/office/drawing/2014/main" id="{F05A35D9-D1C5-338E-A24B-63C76BB54E45}"/>
              </a:ext>
            </a:extLst>
          </p:cNvPr>
          <p:cNvGraphicFramePr>
            <a:graphicFrameLocks noGrp="1"/>
          </p:cNvGraphicFramePr>
          <p:nvPr>
            <p:ph sz="quarter" idx="10"/>
            <p:extLst>
              <p:ext uri="{D42A27DB-BD31-4B8C-83A1-F6EECF244321}">
                <p14:modId xmlns:p14="http://schemas.microsoft.com/office/powerpoint/2010/main" val="805655330"/>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997197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733DD-1422-5649-B7EC-6C22F68294E7}"/>
              </a:ext>
            </a:extLst>
          </p:cNvPr>
          <p:cNvSpPr>
            <a:spLocks noGrp="1"/>
          </p:cNvSpPr>
          <p:nvPr>
            <p:ph type="title"/>
          </p:nvPr>
        </p:nvSpPr>
        <p:spPr>
          <a:xfrm>
            <a:off x="588263" y="457200"/>
            <a:ext cx="11018520" cy="553998"/>
          </a:xfrm>
        </p:spPr>
        <p:txBody>
          <a:bodyPr wrap="square" anchor="t">
            <a:normAutofit/>
          </a:bodyPr>
          <a:lstStyle/>
          <a:p>
            <a:r>
              <a:rPr lang="en-US"/>
              <a:t>Procurement Management</a:t>
            </a:r>
          </a:p>
        </p:txBody>
      </p:sp>
      <p:graphicFrame>
        <p:nvGraphicFramePr>
          <p:cNvPr id="5" name="Content Placeholder 2">
            <a:extLst>
              <a:ext uri="{FF2B5EF4-FFF2-40B4-BE49-F238E27FC236}">
                <a16:creationId xmlns:a16="http://schemas.microsoft.com/office/drawing/2014/main" id="{EAD11503-D133-32E7-E133-88CB07DFE0F3}"/>
              </a:ext>
            </a:extLst>
          </p:cNvPr>
          <p:cNvGraphicFramePr>
            <a:graphicFrameLocks noGrp="1"/>
          </p:cNvGraphicFramePr>
          <p:nvPr>
            <p:ph sz="quarter" idx="10"/>
            <p:extLst>
              <p:ext uri="{D42A27DB-BD31-4B8C-83A1-F6EECF244321}">
                <p14:modId xmlns:p14="http://schemas.microsoft.com/office/powerpoint/2010/main" val="385771684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67308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E3601-0348-0AC8-926D-2963A6EBDE54}"/>
              </a:ext>
            </a:extLst>
          </p:cNvPr>
          <p:cNvSpPr>
            <a:spLocks noGrp="1"/>
          </p:cNvSpPr>
          <p:nvPr>
            <p:ph type="title"/>
          </p:nvPr>
        </p:nvSpPr>
        <p:spPr>
          <a:xfrm>
            <a:off x="588263" y="457200"/>
            <a:ext cx="11018520" cy="553998"/>
          </a:xfrm>
        </p:spPr>
        <p:txBody>
          <a:bodyPr wrap="square" anchor="t">
            <a:normAutofit/>
          </a:bodyPr>
          <a:lstStyle/>
          <a:p>
            <a:r>
              <a:rPr lang="en-US"/>
              <a:t>Private Marketplace Workflow</a:t>
            </a:r>
          </a:p>
        </p:txBody>
      </p:sp>
      <p:sp>
        <p:nvSpPr>
          <p:cNvPr id="3" name="Content Placeholder 2">
            <a:extLst>
              <a:ext uri="{FF2B5EF4-FFF2-40B4-BE49-F238E27FC236}">
                <a16:creationId xmlns:a16="http://schemas.microsoft.com/office/drawing/2014/main" id="{226A9B3B-731B-E601-049B-025098728B19}"/>
              </a:ext>
            </a:extLst>
          </p:cNvPr>
          <p:cNvSpPr>
            <a:spLocks noGrp="1"/>
          </p:cNvSpPr>
          <p:nvPr>
            <p:ph type="body" sz="quarter" idx="10"/>
          </p:nvPr>
        </p:nvSpPr>
        <p:spPr>
          <a:xfrm>
            <a:off x="586390" y="1434370"/>
            <a:ext cx="11018837" cy="4051300"/>
          </a:xfrm>
        </p:spPr>
        <p:txBody>
          <a:bodyPr vert="horz" wrap="square" lIns="0" tIns="0" rIns="0" bIns="0" rtlCol="0">
            <a:normAutofit/>
          </a:bodyPr>
          <a:lstStyle/>
          <a:p>
            <a:r>
              <a:rPr lang="en-US"/>
              <a:t>Private Marketplace offers some control over individual purchase</a:t>
            </a:r>
          </a:p>
          <a:p>
            <a:pPr marL="685800" lvl="1" indent="-457200">
              <a:buFont typeface="Arial" panose="020B0604020202020204" pitchFamily="34" charset="0"/>
              <a:buChar char="•"/>
            </a:pPr>
            <a:r>
              <a:rPr lang="en-US" sz="2800"/>
              <a:t>Enables products as "on-demand"</a:t>
            </a:r>
          </a:p>
          <a:p>
            <a:pPr marL="685800" lvl="1" indent="-457200">
              <a:buFont typeface="Arial" panose="020B0604020202020204" pitchFamily="34" charset="0"/>
              <a:buChar char="•"/>
            </a:pPr>
            <a:r>
              <a:rPr lang="en-US" sz="2800"/>
              <a:t>Procedural approvals allow products to be made available by marketplace administrator</a:t>
            </a:r>
          </a:p>
          <a:p>
            <a:pPr marL="685800" lvl="1" indent="-457200">
              <a:buFont typeface="Arial" panose="020B0604020202020204" pitchFamily="34" charset="0"/>
              <a:buChar char="•"/>
            </a:pPr>
            <a:r>
              <a:rPr lang="en-US" sz="2800"/>
              <a:t>After purchase, product is removed and unavailable until next request is made</a:t>
            </a:r>
          </a:p>
          <a:p>
            <a:endParaRPr lang="en-US"/>
          </a:p>
        </p:txBody>
      </p:sp>
    </p:spTree>
    <p:extLst>
      <p:ext uri="{BB962C8B-B14F-4D97-AF65-F5344CB8AC3E}">
        <p14:creationId xmlns:p14="http://schemas.microsoft.com/office/powerpoint/2010/main" val="167559956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4A8C-98C4-0EC5-C359-C3F08F09CCD2}"/>
              </a:ext>
            </a:extLst>
          </p:cNvPr>
          <p:cNvSpPr>
            <a:spLocks noGrp="1"/>
          </p:cNvSpPr>
          <p:nvPr>
            <p:ph type="title"/>
          </p:nvPr>
        </p:nvSpPr>
        <p:spPr/>
        <p:txBody>
          <a:bodyPr/>
          <a:lstStyle/>
          <a:p>
            <a:r>
              <a:rPr lang="en-US">
                <a:cs typeface="Segoe UI"/>
              </a:rPr>
              <a:t>Private Marketplace lab</a:t>
            </a:r>
            <a:endParaRPr lang="en-US"/>
          </a:p>
        </p:txBody>
      </p:sp>
      <p:sp>
        <p:nvSpPr>
          <p:cNvPr id="3" name="Content Placeholder 2">
            <a:extLst>
              <a:ext uri="{FF2B5EF4-FFF2-40B4-BE49-F238E27FC236}">
                <a16:creationId xmlns:a16="http://schemas.microsoft.com/office/drawing/2014/main" id="{8EBEE321-11FC-1E70-73C4-F9D3512763DC}"/>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a:t>
            </a:r>
          </a:p>
          <a:p>
            <a:r>
              <a:rPr lang="en-US" dirty="0">
                <a:cs typeface="Segoe UI"/>
              </a:rPr>
              <a:t>Must be Global Administrator to complete</a:t>
            </a:r>
            <a:endParaRPr lang="en-US" dirty="0"/>
          </a:p>
        </p:txBody>
      </p:sp>
    </p:spTree>
    <p:extLst>
      <p:ext uri="{BB962C8B-B14F-4D97-AF65-F5344CB8AC3E}">
        <p14:creationId xmlns:p14="http://schemas.microsoft.com/office/powerpoint/2010/main" val="421169614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how to enable SSO to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553998"/>
            <a:chOff x="3987847" y="2196868"/>
            <a:chExt cx="7621541" cy="553998"/>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553998"/>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enable of </a:t>
              </a:r>
              <a:r>
                <a:rPr lang="en-US" sz="1800" dirty="0" err="1">
                  <a:solidFill>
                    <a:schemeClr val="tx1"/>
                  </a:solidFill>
                  <a:cs typeface="Segoe UI"/>
                </a:rPr>
                <a:t>Entra</a:t>
              </a:r>
              <a:r>
                <a:rPr lang="en-US" sz="1800" dirty="0">
                  <a:solidFill>
                    <a:schemeClr val="tx1"/>
                  </a:solidFill>
                  <a:cs typeface="Segoe UI"/>
                </a:rPr>
                <a:t> ID authentication and authorization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351392"/>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How to </a:t>
              </a:r>
              <a:r>
                <a:rPr lang="en-US" sz="1800" dirty="0">
                  <a:ea typeface="+mn-lt"/>
                  <a:cs typeface="+mn-lt"/>
                </a:rPr>
                <a:t>Set up a private Marketplace.</a:t>
              </a:r>
              <a:endParaRPr lang="en-US" sz="1800" dirty="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How to </a:t>
              </a:r>
              <a:r>
                <a:rPr lang="en-US" sz="1800" dirty="0">
                  <a:solidFill>
                    <a:schemeClr val="tx1"/>
                  </a:solidFill>
                  <a:ea typeface="+mn-lt"/>
                  <a:cs typeface="+mn-lt"/>
                </a:rPr>
                <a:t>c</a:t>
              </a:r>
              <a:r>
                <a:rPr lang="en-US" sz="1800" dirty="0">
                  <a:ea typeface="+mn-lt"/>
                  <a:cs typeface="+mn-lt"/>
                </a:rPr>
                <a:t>reate purchasing permissions and resource limits. </a:t>
              </a:r>
              <a:endParaRPr lang="en-US" dirty="0"/>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075745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a:latin typeface="Segoe UI"/>
                <a:cs typeface="Segoe UI"/>
              </a:rPr>
              <a:t>Content with documented use cases and discussion topics</a:t>
            </a:r>
            <a:endParaRPr lang="en-US"/>
          </a:p>
          <a:p>
            <a:pPr marL="457200" indent="-457200">
              <a:buClr>
                <a:schemeClr val="accent1"/>
              </a:buClr>
              <a:buFont typeface="Wingdings" panose="05000000000000000000" pitchFamily="2" charset="2"/>
              <a:buChar char="ü"/>
            </a:pPr>
            <a:r>
              <a:rPr lang="en-US" sz="200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a:latin typeface="Segoe UI"/>
                <a:cs typeface="Segoe UI"/>
              </a:rPr>
              <a:t>Hands-on lab experience</a:t>
            </a:r>
            <a:endParaRPr lang="en-US"/>
          </a:p>
          <a:p>
            <a:pPr marL="457200" indent="-457200">
              <a:buClr>
                <a:schemeClr val="accent1"/>
              </a:buClr>
              <a:buFont typeface="Wingdings" panose="05000000000000000000" pitchFamily="2" charset="2"/>
              <a:buChar char="ü"/>
            </a:pPr>
            <a:endParaRPr lang="en-US" sz="200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a:latin typeface="Segoe UI"/>
                <a:cs typeface="Segoe UI"/>
              </a:rPr>
              <a:t>Shared hands-on lab environment (aka </a:t>
            </a:r>
            <a:r>
              <a:rPr lang="en-US" sz="2000" err="1">
                <a:latin typeface="Segoe UI"/>
                <a:cs typeface="Segoe UI"/>
              </a:rPr>
              <a:t>OpenHack</a:t>
            </a:r>
            <a:r>
              <a:rPr lang="en-US" sz="200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a:latin typeface="Segoe UI"/>
                <a:cs typeface="Segoe UI"/>
              </a:rPr>
              <a:t>Lecture without interaction</a:t>
            </a:r>
            <a:endParaRPr lang="en-US" sz="200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Day Two: Marketplace procurement application integration and governance</a:t>
            </a:r>
            <a:endParaRPr lang="en-US" altLang="zh-CN" dirty="0">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2431226382"/>
              </p:ext>
            </p:extLst>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 </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Labs – Deployment of resources and SaaS offerings through the Marketplace</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123777173"/>
              </p:ext>
            </p:extLst>
          </p:nvPr>
        </p:nvGraphicFramePr>
        <p:xfrm>
          <a:off x="4027715" y="3242233"/>
          <a:ext cx="8097610" cy="3639312"/>
        </p:xfrm>
        <a:graphic>
          <a:graphicData uri="http://schemas.openxmlformats.org/drawingml/2006/table">
            <a:tbl>
              <a:tblPr/>
              <a:tblGrid>
                <a:gridCol w="1909446">
                  <a:extLst>
                    <a:ext uri="{9D8B030D-6E8A-4147-A177-3AD203B41FA5}">
                      <a16:colId xmlns:a16="http://schemas.microsoft.com/office/drawing/2014/main" val="1070106141"/>
                    </a:ext>
                  </a:extLst>
                </a:gridCol>
                <a:gridCol w="2822861">
                  <a:extLst>
                    <a:ext uri="{9D8B030D-6E8A-4147-A177-3AD203B41FA5}">
                      <a16:colId xmlns:a16="http://schemas.microsoft.com/office/drawing/2014/main" val="1928585651"/>
                    </a:ext>
                  </a:extLst>
                </a:gridCol>
                <a:gridCol w="3365303">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Integrating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a:solidFill>
                            <a:schemeClr val="tx1"/>
                          </a:solidFill>
                          <a:latin typeface="Segoe UI"/>
                        </a:rPr>
                        <a:t>10:30</a:t>
                      </a:r>
                      <a:endParaRPr lang="en-US" sz="1600" b="0" i="0" u="none" strike="noStrike" noProof="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rivate offers overview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a:t>
                      </a:r>
                      <a:endParaRPr lang="en-US"/>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Private Marketplace overview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3: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0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solidFill>
                            <a:schemeClr val="tx2"/>
                          </a:solidFill>
                        </a:rPr>
                        <a:t>Lab - Setting up and using a privat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600" dirty="0">
                          <a:solidFill>
                            <a:schemeClr val="tx1"/>
                          </a:solidFill>
                        </a:rPr>
                        <a:t> 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057151"/>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1125988874"/>
              </p:ext>
            </p:extLst>
          </p:nvPr>
        </p:nvGraphicFramePr>
        <p:xfrm>
          <a:off x="3907642" y="1352943"/>
          <a:ext cx="7309257" cy="4419600"/>
        </p:xfrm>
        <a:graphic>
          <a:graphicData uri="http://schemas.openxmlformats.org/drawingml/2006/table">
            <a:tbl>
              <a:tblPr/>
              <a:tblGrid>
                <a:gridCol w="1121093">
                  <a:extLst>
                    <a:ext uri="{9D8B030D-6E8A-4147-A177-3AD203B41FA5}">
                      <a16:colId xmlns:a16="http://schemas.microsoft.com/office/drawing/2014/main" val="1070106141"/>
                    </a:ext>
                  </a:extLst>
                </a:gridCol>
                <a:gridCol w="2822861">
                  <a:extLst>
                    <a:ext uri="{9D8B030D-6E8A-4147-A177-3AD203B41FA5}">
                      <a16:colId xmlns:a16="http://schemas.microsoft.com/office/drawing/2014/main" val="1928585651"/>
                    </a:ext>
                  </a:extLst>
                </a:gridCol>
                <a:gridCol w="3365303">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Integrating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dirty="0">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Break</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6230254"/>
                  </a:ext>
                </a:extLst>
              </a:tr>
              <a:tr h="0">
                <a:tc>
                  <a:txBody>
                    <a:bodyPr/>
                    <a:lstStyle/>
                    <a:p>
                      <a:pPr lvl="0" algn="l">
                        <a:lnSpc>
                          <a:spcPct val="100000"/>
                        </a:lnSpc>
                        <a:spcBef>
                          <a:spcPts val="0"/>
                        </a:spcBef>
                        <a:spcAft>
                          <a:spcPts val="0"/>
                        </a:spcAft>
                        <a:buNone/>
                      </a:pPr>
                      <a:r>
                        <a:rPr lang="en-US" sz="1600" b="1" i="0" u="none" strike="noStrike" noProof="0" dirty="0">
                          <a:solidFill>
                            <a:schemeClr val="tx1"/>
                          </a:solidFill>
                          <a:latin typeface="Segoe UI"/>
                        </a:rPr>
                        <a:t>10:50</a:t>
                      </a:r>
                      <a:endParaRPr lang="en-US" sz="1600" b="0" i="0" u="none" strike="noStrike" noProof="0" dirty="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7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rivate offers overview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a:t>
                      </a:r>
                      <a:endParaRPr lang="en-US"/>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Private Marketplace overview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600" b="1" dirty="0">
                          <a:solidFill>
                            <a:schemeClr val="tx1"/>
                          </a:solidFill>
                        </a:rPr>
                        <a:t>13: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solidFill>
                            <a:schemeClr val="tx2"/>
                          </a:solidFill>
                        </a:rPr>
                        <a:t>Break</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2564328"/>
                  </a:ext>
                </a:extLst>
              </a:tr>
              <a:tr h="0">
                <a:tc>
                  <a:txBody>
                    <a:bodyPr/>
                    <a:lstStyle/>
                    <a:p>
                      <a:pPr algn="l" fontAlgn="b"/>
                      <a:r>
                        <a:rPr lang="en-US" sz="1600" b="1" dirty="0">
                          <a:solidFill>
                            <a:schemeClr val="tx1"/>
                          </a:solidFill>
                        </a:rPr>
                        <a:t>14:0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0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dirty="0">
                          <a:solidFill>
                            <a:schemeClr val="tx2"/>
                          </a:solidFill>
                        </a:rPr>
                        <a:t>Lab - Setting up and using a private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r h="0">
                <a:tc>
                  <a:txBody>
                    <a:bodyPr/>
                    <a:lstStyle/>
                    <a:p>
                      <a:pPr algn="l" fontAlgn="b"/>
                      <a:r>
                        <a:rPr lang="en-US" sz="1600" b="1" dirty="0">
                          <a:solidFill>
                            <a:schemeClr val="tx1"/>
                          </a:solidFill>
                        </a:rPr>
                        <a:t>15:5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600" dirty="0">
                          <a:solidFill>
                            <a:schemeClr val="tx1"/>
                          </a:solidFill>
                        </a:rPr>
                        <a:t> 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057151"/>
                  </a:ext>
                </a:extLst>
              </a:tr>
            </a:tbl>
          </a:graphicData>
        </a:graphic>
      </p:graphicFrame>
    </p:spTree>
    <p:custDataLst>
      <p:tags r:id="rId1"/>
    </p:custDataLst>
    <p:extLst>
      <p:ext uri="{BB962C8B-B14F-4D97-AF65-F5344CB8AC3E}">
        <p14:creationId xmlns:p14="http://schemas.microsoft.com/office/powerpoint/2010/main" val="4819917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dirty="0"/>
              <a:t>In this module, you’ll begin by learning how to connect procurement applications to Marketplace.  You will also create a privat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bg1"/>
                </a:solidFill>
              </a:rPr>
              <a:t>After completing this module, you’ll be able to:</a:t>
            </a:r>
            <a:endParaRPr lang="en-US" sz="1600" b="1">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tegrate Marketplace with Procurement Systems.</a:t>
            </a:r>
            <a:endParaRPr lang="en-US" dirty="0">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a:t>Integration of Entra ID to Procurement Systems.</a:t>
            </a:r>
            <a:endParaRPr lang="en-US">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dirty="0">
                <a:cs typeface="Segoe UI"/>
              </a:rPr>
              <a:t>Setting up a privat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dirty="0"/>
              <a:t>Create purchasing permissions and resource purchase limits</a:t>
            </a:r>
            <a:r>
              <a:rPr kumimoji="0" lang="en-US" sz="1400" b="0" i="0" u="none" strike="noStrike" kern="1200" cap="none" spc="0" normalizeH="0" baseline="0" noProof="0" dirty="0">
                <a:ln>
                  <a:noFill/>
                </a:ln>
                <a:effectLst/>
                <a:uLnTx/>
                <a:uFillTx/>
                <a:ea typeface="+mn-ea"/>
                <a:cs typeface="+mn-cs"/>
              </a:rPr>
              <a:t>.</a:t>
            </a:r>
            <a:endParaRPr lang="en-US" sz="1400" dirty="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1471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7B8E-14FF-3C2D-BE0E-F25E0D4B4DB3}"/>
              </a:ext>
            </a:extLst>
          </p:cNvPr>
          <p:cNvSpPr>
            <a:spLocks noGrp="1"/>
          </p:cNvSpPr>
          <p:nvPr>
            <p:ph type="title"/>
          </p:nvPr>
        </p:nvSpPr>
        <p:spPr>
          <a:xfrm>
            <a:off x="588263" y="457200"/>
            <a:ext cx="11018520" cy="553998"/>
          </a:xfrm>
        </p:spPr>
        <p:txBody>
          <a:bodyPr wrap="square" anchor="t">
            <a:normAutofit/>
          </a:bodyPr>
          <a:lstStyle/>
          <a:p>
            <a:r>
              <a:rPr lang="en-US"/>
              <a:t>Procurement and Azure Marketplace</a:t>
            </a:r>
          </a:p>
        </p:txBody>
      </p:sp>
      <p:sp>
        <p:nvSpPr>
          <p:cNvPr id="3" name="Content Placeholder 2">
            <a:extLst>
              <a:ext uri="{FF2B5EF4-FFF2-40B4-BE49-F238E27FC236}">
                <a16:creationId xmlns:a16="http://schemas.microsoft.com/office/drawing/2014/main" id="{C9D88242-39E7-FD9D-8E94-B07DD53805B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a:t>What you need to know:</a:t>
            </a:r>
          </a:p>
          <a:p>
            <a:pPr lvl="1">
              <a:lnSpc>
                <a:spcPct val="90000"/>
              </a:lnSpc>
            </a:pPr>
            <a:r>
              <a:rPr lang="en-US" sz="2800"/>
              <a:t>Billing accounts and subscriptions</a:t>
            </a:r>
          </a:p>
          <a:p>
            <a:pPr lvl="1">
              <a:lnSpc>
                <a:spcPct val="90000"/>
              </a:lnSpc>
            </a:pPr>
            <a:r>
              <a:rPr lang="en-US" sz="2800"/>
              <a:t>Must be subscription owner or contributor to purchase</a:t>
            </a:r>
          </a:p>
          <a:p>
            <a:pPr lvl="1">
              <a:lnSpc>
                <a:spcPct val="90000"/>
              </a:lnSpc>
            </a:pPr>
            <a:r>
              <a:rPr lang="en-US" sz="2800"/>
              <a:t>Azure subscriptions is consumption-based</a:t>
            </a:r>
          </a:p>
          <a:p>
            <a:pPr lvl="1">
              <a:lnSpc>
                <a:spcPct val="90000"/>
              </a:lnSpc>
            </a:pPr>
            <a:r>
              <a:rPr lang="en-US" sz="2800"/>
              <a:t>SaaS subscription is time-based</a:t>
            </a:r>
          </a:p>
          <a:p>
            <a:pPr lvl="1">
              <a:lnSpc>
                <a:spcPct val="90000"/>
              </a:lnSpc>
            </a:pPr>
            <a:r>
              <a:rPr lang="en-US" sz="2800"/>
              <a:t>Billing account ID is needed for private offer agreements</a:t>
            </a:r>
          </a:p>
        </p:txBody>
      </p:sp>
      <p:sp>
        <p:nvSpPr>
          <p:cNvPr id="8" name="Content Placeholder 3">
            <a:extLst>
              <a:ext uri="{FF2B5EF4-FFF2-40B4-BE49-F238E27FC236}">
                <a16:creationId xmlns:a16="http://schemas.microsoft.com/office/drawing/2014/main" id="{0BEC7ADA-45E0-D0DE-3260-36E676ED3447}"/>
              </a:ext>
            </a:extLst>
          </p:cNvPr>
          <p:cNvSpPr>
            <a:spLocks noGrp="1"/>
          </p:cNvSpPr>
          <p:nvPr>
            <p:ph sz="quarter" idx="13"/>
          </p:nvPr>
        </p:nvSpPr>
        <p:spPr>
          <a:xfrm>
            <a:off x="6389688" y="1435100"/>
            <a:ext cx="5219700" cy="4833938"/>
          </a:xfrm>
        </p:spPr>
        <p:txBody>
          <a:bodyPr/>
          <a:lstStyle/>
          <a:p>
            <a:endParaRPr lang="en-US"/>
          </a:p>
        </p:txBody>
      </p:sp>
    </p:spTree>
    <p:extLst>
      <p:ext uri="{BB962C8B-B14F-4D97-AF65-F5344CB8AC3E}">
        <p14:creationId xmlns:p14="http://schemas.microsoft.com/office/powerpoint/2010/main" val="28395243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571B-B150-1C46-5F05-A09D93B7AE7A}"/>
              </a:ext>
            </a:extLst>
          </p:cNvPr>
          <p:cNvSpPr>
            <a:spLocks noGrp="1"/>
          </p:cNvSpPr>
          <p:nvPr>
            <p:ph type="title"/>
          </p:nvPr>
        </p:nvSpPr>
        <p:spPr>
          <a:xfrm>
            <a:off x="588263" y="457200"/>
            <a:ext cx="11018520" cy="553998"/>
          </a:xfrm>
        </p:spPr>
        <p:txBody>
          <a:bodyPr wrap="square" anchor="t">
            <a:normAutofit/>
          </a:bodyPr>
          <a:lstStyle/>
          <a:p>
            <a:r>
              <a:rPr lang="en-US"/>
              <a:t>Account Settings</a:t>
            </a:r>
          </a:p>
        </p:txBody>
      </p:sp>
      <p:graphicFrame>
        <p:nvGraphicFramePr>
          <p:cNvPr id="5" name="Content Placeholder 2">
            <a:extLst>
              <a:ext uri="{FF2B5EF4-FFF2-40B4-BE49-F238E27FC236}">
                <a16:creationId xmlns:a16="http://schemas.microsoft.com/office/drawing/2014/main" id="{02521839-71E7-D3DB-2A79-15E7270E214C}"/>
              </a:ext>
            </a:extLst>
          </p:cNvPr>
          <p:cNvGraphicFramePr>
            <a:graphicFrameLocks noGrp="1"/>
          </p:cNvGraphicFramePr>
          <p:nvPr>
            <p:ph sz="quarter" idx="10"/>
            <p:extLst>
              <p:ext uri="{D42A27DB-BD31-4B8C-83A1-F6EECF244321}">
                <p14:modId xmlns:p14="http://schemas.microsoft.com/office/powerpoint/2010/main" val="90234378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2601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Props1.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2.xml><?xml version="1.0" encoding="utf-8"?>
<ds:datastoreItem xmlns:ds="http://schemas.openxmlformats.org/officeDocument/2006/customXml" ds:itemID="{C5DC1468-2D5A-4AF4-B6A1-FA3F00E879EA}">
  <ds:schemaRefs>
    <ds:schemaRef ds:uri="df7f103e-597c-493b-bc31-914106b908e0"/>
    <ds:schemaRef ds:uri="ec9ab3cf-5ffc-4e23-9951-e59f1d4d27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DCB3B52-9508-4A63-AFCC-05E7630C15CA}">
  <ds:schemaRefs>
    <ds:schemaRef ds:uri="df7f103e-597c-493b-bc31-914106b908e0"/>
    <ds:schemaRef ds:uri="ec9ab3cf-5ffc-4e23-9951-e59f1d4d2772"/>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32</TotalTime>
  <Words>1688</Words>
  <Application>Microsoft Office PowerPoint</Application>
  <PresentationFormat>Widescreen</PresentationFormat>
  <Paragraphs>258</Paragraphs>
  <Slides>26</Slides>
  <Notes>15</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onsolas</vt:lpstr>
      <vt:lpstr>Segoe UI</vt:lpstr>
      <vt:lpstr>Segoe UI Light</vt:lpstr>
      <vt:lpstr>Segoe UI Semibold</vt:lpstr>
      <vt:lpstr>Times New Roman</vt:lpstr>
      <vt:lpstr>Wingdings</vt:lpstr>
      <vt:lpstr>1_Black Template</vt:lpstr>
      <vt:lpstr>think-cell Slide</vt:lpstr>
      <vt:lpstr>Microsoft Commercial Marketplace</vt:lpstr>
      <vt:lpstr>Learning objectives</vt:lpstr>
      <vt:lpstr>What to expect</vt:lpstr>
      <vt:lpstr>PowerPoint Presentation</vt:lpstr>
      <vt:lpstr>PowerPoint Presentation</vt:lpstr>
      <vt:lpstr>PowerPoint Presentation</vt:lpstr>
      <vt:lpstr>Introduction</vt:lpstr>
      <vt:lpstr>Procurement and Azure Marketplace</vt:lpstr>
      <vt:lpstr>Account Settings</vt:lpstr>
      <vt:lpstr>Account settings demo</vt:lpstr>
      <vt:lpstr>User Consent to Applications</vt:lpstr>
      <vt:lpstr>PowerPoint Presentation</vt:lpstr>
      <vt:lpstr>Procurement Solutions and Marketplace</vt:lpstr>
      <vt:lpstr>20 minute break</vt:lpstr>
      <vt:lpstr>Labs – Entra ID integration</vt:lpstr>
      <vt:lpstr>Private Offers</vt:lpstr>
      <vt:lpstr>Walk through of private offers</vt:lpstr>
      <vt:lpstr>Private Offers customer experience</vt:lpstr>
      <vt:lpstr>45 minute break</vt:lpstr>
      <vt:lpstr>Governance and Procurement management</vt:lpstr>
      <vt:lpstr>Governance of Product Inventory</vt:lpstr>
      <vt:lpstr>Private Marketplace</vt:lpstr>
      <vt:lpstr>Procurement Management</vt:lpstr>
      <vt:lpstr>Private Marketplace Workflow</vt:lpstr>
      <vt:lpstr>Private Marketplace lab</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27</cp:revision>
  <dcterms:created xsi:type="dcterms:W3CDTF">2023-04-14T00:23:05Z</dcterms:created>
  <dcterms:modified xsi:type="dcterms:W3CDTF">2023-11-14T16:1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